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ink/ink12.xml" ContentType="application/inkml+xml"/>
  <Override PartName="/ppt/ink/ink13.xml" ContentType="application/inkml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2" r:id="rId4"/>
  </p:sldMasterIdLst>
  <p:notesMasterIdLst>
    <p:notesMasterId r:id="rId70"/>
  </p:notesMasterIdLst>
  <p:handoutMasterIdLst>
    <p:handoutMasterId r:id="rId71"/>
  </p:handoutMasterIdLst>
  <p:sldIdLst>
    <p:sldId id="404" r:id="rId5"/>
    <p:sldId id="497" r:id="rId6"/>
    <p:sldId id="513" r:id="rId7"/>
    <p:sldId id="602" r:id="rId8"/>
    <p:sldId id="649" r:id="rId9"/>
    <p:sldId id="635" r:id="rId10"/>
    <p:sldId id="653" r:id="rId11"/>
    <p:sldId id="591" r:id="rId12"/>
    <p:sldId id="514" r:id="rId13"/>
    <p:sldId id="603" r:id="rId14"/>
    <p:sldId id="604" r:id="rId15"/>
    <p:sldId id="605" r:id="rId16"/>
    <p:sldId id="609" r:id="rId17"/>
    <p:sldId id="606" r:id="rId18"/>
    <p:sldId id="610" r:id="rId19"/>
    <p:sldId id="645" r:id="rId20"/>
    <p:sldId id="608" r:id="rId21"/>
    <p:sldId id="607" r:id="rId22"/>
    <p:sldId id="643" r:id="rId23"/>
    <p:sldId id="644" r:id="rId24"/>
    <p:sldId id="594" r:id="rId25"/>
    <p:sldId id="592" r:id="rId26"/>
    <p:sldId id="611" r:id="rId27"/>
    <p:sldId id="637" r:id="rId28"/>
    <p:sldId id="612" r:id="rId29"/>
    <p:sldId id="615" r:id="rId30"/>
    <p:sldId id="639" r:id="rId31"/>
    <p:sldId id="616" r:id="rId32"/>
    <p:sldId id="617" r:id="rId33"/>
    <p:sldId id="618" r:id="rId34"/>
    <p:sldId id="619" r:id="rId35"/>
    <p:sldId id="640" r:id="rId36"/>
    <p:sldId id="614" r:id="rId37"/>
    <p:sldId id="613" r:id="rId38"/>
    <p:sldId id="641" r:id="rId39"/>
    <p:sldId id="646" r:id="rId40"/>
    <p:sldId id="595" r:id="rId41"/>
    <p:sldId id="621" r:id="rId42"/>
    <p:sldId id="593" r:id="rId43"/>
    <p:sldId id="620" r:id="rId44"/>
    <p:sldId id="596" r:id="rId45"/>
    <p:sldId id="597" r:id="rId46"/>
    <p:sldId id="623" r:id="rId47"/>
    <p:sldId id="624" r:id="rId48"/>
    <p:sldId id="625" r:id="rId49"/>
    <p:sldId id="626" r:id="rId50"/>
    <p:sldId id="627" r:id="rId51"/>
    <p:sldId id="647" r:id="rId52"/>
    <p:sldId id="651" r:id="rId53"/>
    <p:sldId id="650" r:id="rId54"/>
    <p:sldId id="652" r:id="rId55"/>
    <p:sldId id="598" r:id="rId56"/>
    <p:sldId id="599" r:id="rId57"/>
    <p:sldId id="630" r:id="rId58"/>
    <p:sldId id="629" r:id="rId59"/>
    <p:sldId id="631" r:id="rId60"/>
    <p:sldId id="632" r:id="rId61"/>
    <p:sldId id="633" r:id="rId62"/>
    <p:sldId id="628" r:id="rId63"/>
    <p:sldId id="634" r:id="rId64"/>
    <p:sldId id="642" r:id="rId65"/>
    <p:sldId id="648" r:id="rId66"/>
    <p:sldId id="600" r:id="rId67"/>
    <p:sldId id="601" r:id="rId68"/>
    <p:sldId id="539" r:id="rId69"/>
  </p:sldIdLst>
  <p:sldSz cx="9906000" cy="6858000" type="A4"/>
  <p:notesSz cx="6797675" cy="9926638"/>
  <p:custDataLst>
    <p:tags r:id="rId72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752" userDrawn="1">
          <p15:clr>
            <a:srgbClr val="A4A3A4"/>
          </p15:clr>
        </p15:guide>
        <p15:guide id="3" pos="6227" userDrawn="1">
          <p15:clr>
            <a:srgbClr val="A4A3A4"/>
          </p15:clr>
        </p15:guide>
        <p15:guide id="7" orient="horz" pos="1366" userDrawn="1">
          <p15:clr>
            <a:srgbClr val="A4A3A4"/>
          </p15:clr>
        </p15:guide>
        <p15:guide id="8" orient="horz" pos="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161E3E"/>
    <a:srgbClr val="182044"/>
    <a:srgbClr val="202C5C"/>
    <a:srgbClr val="B3D7F7"/>
    <a:srgbClr val="2B5486"/>
    <a:srgbClr val="FFF796"/>
    <a:srgbClr val="FFA29D"/>
    <a:srgbClr val="FED292"/>
    <a:srgbClr val="FF656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127C1C-99B1-422D-9BD4-E48D71ECF507}" v="127" dt="2022-12-17T15:57:55.0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01" autoAdjust="0"/>
    <p:restoredTop sz="92430" autoAdjust="0"/>
  </p:normalViewPr>
  <p:slideViewPr>
    <p:cSldViewPr snapToGrid="0">
      <p:cViewPr varScale="1">
        <p:scale>
          <a:sx n="112" d="100"/>
          <a:sy n="112" d="100"/>
        </p:scale>
        <p:origin x="619" y="62"/>
      </p:cViewPr>
      <p:guideLst>
        <p:guide pos="1752"/>
        <p:guide pos="6227"/>
        <p:guide orient="horz" pos="1366"/>
        <p:guide orient="horz" pos="34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presProps" Target="presProp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ableStyles" Target="tableStyles.xml"/><Relationship Id="rId7" Type="http://schemas.openxmlformats.org/officeDocument/2006/relationships/slide" Target="slides/slide3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adee Castro" userId="5b47d84d-e816-421d-a9bd-ea845bdedce9" providerId="ADAL" clId="{AB127C1C-99B1-422D-9BD4-E48D71ECF507}"/>
    <pc:docChg chg="undo custSel addSld delSld modSld sldOrd">
      <pc:chgData name="Auradee Castro" userId="5b47d84d-e816-421d-a9bd-ea845bdedce9" providerId="ADAL" clId="{AB127C1C-99B1-422D-9BD4-E48D71ECF507}" dt="2022-12-17T18:34:29.908" v="2602" actId="1076"/>
      <pc:docMkLst>
        <pc:docMk/>
      </pc:docMkLst>
      <pc:sldChg chg="modSp mod">
        <pc:chgData name="Auradee Castro" userId="5b47d84d-e816-421d-a9bd-ea845bdedce9" providerId="ADAL" clId="{AB127C1C-99B1-422D-9BD4-E48D71ECF507}" dt="2022-12-17T14:25:15.542" v="779" actId="14100"/>
        <pc:sldMkLst>
          <pc:docMk/>
          <pc:sldMk cId="1493273716" sldId="404"/>
        </pc:sldMkLst>
        <pc:spChg chg="mod">
          <ac:chgData name="Auradee Castro" userId="5b47d84d-e816-421d-a9bd-ea845bdedce9" providerId="ADAL" clId="{AB127C1C-99B1-422D-9BD4-E48D71ECF507}" dt="2022-12-17T14:24:42.415" v="774" actId="20577"/>
          <ac:spMkLst>
            <pc:docMk/>
            <pc:sldMk cId="1493273716" sldId="404"/>
            <ac:spMk id="2" creationId="{30E54D48-7097-BA47-B82F-4D1DE0931D7A}"/>
          </ac:spMkLst>
        </pc:spChg>
        <pc:spChg chg="mod">
          <ac:chgData name="Auradee Castro" userId="5b47d84d-e816-421d-a9bd-ea845bdedce9" providerId="ADAL" clId="{AB127C1C-99B1-422D-9BD4-E48D71ECF507}" dt="2022-12-17T14:25:15.542" v="779" actId="14100"/>
          <ac:spMkLst>
            <pc:docMk/>
            <pc:sldMk cId="1493273716" sldId="404"/>
            <ac:spMk id="10" creationId="{B571FC37-87C3-4FA3-BEDB-C5AE77AF3EFE}"/>
          </ac:spMkLst>
        </pc:spChg>
      </pc:sldChg>
      <pc:sldChg chg="addSp delSp modSp mod">
        <pc:chgData name="Auradee Castro" userId="5b47d84d-e816-421d-a9bd-ea845bdedce9" providerId="ADAL" clId="{AB127C1C-99B1-422D-9BD4-E48D71ECF507}" dt="2022-12-17T16:02:33.519" v="2568" actId="478"/>
        <pc:sldMkLst>
          <pc:docMk/>
          <pc:sldMk cId="1910518811" sldId="513"/>
        </pc:sldMkLst>
        <pc:spChg chg="mod">
          <ac:chgData name="Auradee Castro" userId="5b47d84d-e816-421d-a9bd-ea845bdedce9" providerId="ADAL" clId="{AB127C1C-99B1-422D-9BD4-E48D71ECF507}" dt="2022-12-17T15:41:11.541" v="2181" actId="255"/>
          <ac:spMkLst>
            <pc:docMk/>
            <pc:sldMk cId="1910518811" sldId="513"/>
            <ac:spMk id="6" creationId="{7D9DC680-720B-5BB2-84CE-E508339FC7B3}"/>
          </ac:spMkLst>
        </pc:spChg>
        <pc:picChg chg="add del mod">
          <ac:chgData name="Auradee Castro" userId="5b47d84d-e816-421d-a9bd-ea845bdedce9" providerId="ADAL" clId="{AB127C1C-99B1-422D-9BD4-E48D71ECF507}" dt="2022-12-17T16:02:33.519" v="2568" actId="478"/>
          <ac:picMkLst>
            <pc:docMk/>
            <pc:sldMk cId="1910518811" sldId="513"/>
            <ac:picMk id="5" creationId="{E4D69352-99A2-817E-BA79-503258AA8994}"/>
          </ac:picMkLst>
        </pc:picChg>
      </pc:sldChg>
      <pc:sldChg chg="modSp mod">
        <pc:chgData name="Auradee Castro" userId="5b47d84d-e816-421d-a9bd-ea845bdedce9" providerId="ADAL" clId="{AB127C1C-99B1-422D-9BD4-E48D71ECF507}" dt="2022-12-11T04:56:57.604" v="2" actId="20577"/>
        <pc:sldMkLst>
          <pc:docMk/>
          <pc:sldMk cId="1939072164" sldId="514"/>
        </pc:sldMkLst>
        <pc:spChg chg="mod">
          <ac:chgData name="Auradee Castro" userId="5b47d84d-e816-421d-a9bd-ea845bdedce9" providerId="ADAL" clId="{AB127C1C-99B1-422D-9BD4-E48D71ECF507}" dt="2022-12-11T04:56:57.604" v="2" actId="20577"/>
          <ac:spMkLst>
            <pc:docMk/>
            <pc:sldMk cId="1939072164" sldId="514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8:15.248" v="81" actId="20577"/>
        <pc:sldMkLst>
          <pc:docMk/>
          <pc:sldMk cId="3283984047" sldId="592"/>
        </pc:sldMkLst>
        <pc:spChg chg="mod">
          <ac:chgData name="Auradee Castro" userId="5b47d84d-e816-421d-a9bd-ea845bdedce9" providerId="ADAL" clId="{AB127C1C-99B1-422D-9BD4-E48D71ECF507}" dt="2022-12-11T04:58:15.248" v="81" actId="20577"/>
          <ac:spMkLst>
            <pc:docMk/>
            <pc:sldMk cId="3283984047" sldId="592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54.404" v="191" actId="20577"/>
        <pc:sldMkLst>
          <pc:docMk/>
          <pc:sldMk cId="1803481580" sldId="593"/>
        </pc:sldMkLst>
        <pc:spChg chg="mod">
          <ac:chgData name="Auradee Castro" userId="5b47d84d-e816-421d-a9bd-ea845bdedce9" providerId="ADAL" clId="{AB127C1C-99B1-422D-9BD4-E48D71ECF507}" dt="2022-12-11T04:59:54.404" v="191" actId="20577"/>
          <ac:spMkLst>
            <pc:docMk/>
            <pc:sldMk cId="1803481580" sldId="593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7T16:04:25.714" v="2586" actId="20577"/>
        <pc:sldMkLst>
          <pc:docMk/>
          <pc:sldMk cId="3366711753" sldId="597"/>
        </pc:sldMkLst>
        <pc:spChg chg="mod">
          <ac:chgData name="Auradee Castro" userId="5b47d84d-e816-421d-a9bd-ea845bdedce9" providerId="ADAL" clId="{AB127C1C-99B1-422D-9BD4-E48D71ECF507}" dt="2022-12-17T16:04:25.714" v="2586" actId="20577"/>
          <ac:spMkLst>
            <pc:docMk/>
            <pc:sldMk cId="3366711753" sldId="597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40:23.149" v="1142" actId="14100"/>
          <ac:spMkLst>
            <pc:docMk/>
            <pc:sldMk cId="3366711753" sldId="597"/>
            <ac:spMk id="5" creationId="{41C4773C-85B6-6E6D-5077-98A780146AB9}"/>
          </ac:spMkLst>
        </pc:spChg>
      </pc:sldChg>
      <pc:sldChg chg="addSp delSp modSp mod">
        <pc:chgData name="Auradee Castro" userId="5b47d84d-e816-421d-a9bd-ea845bdedce9" providerId="ADAL" clId="{AB127C1C-99B1-422D-9BD4-E48D71ECF507}" dt="2022-12-11T05:30:11.668" v="722" actId="1037"/>
        <pc:sldMkLst>
          <pc:docMk/>
          <pc:sldMk cId="4003451168" sldId="599"/>
        </pc:sldMkLst>
        <pc:spChg chg="mod">
          <ac:chgData name="Auradee Castro" userId="5b47d84d-e816-421d-a9bd-ea845bdedce9" providerId="ADAL" clId="{AB127C1C-99B1-422D-9BD4-E48D71ECF507}" dt="2022-12-11T05:01:02.491" v="244" actId="20577"/>
          <ac:spMkLst>
            <pc:docMk/>
            <pc:sldMk cId="4003451168" sldId="599"/>
            <ac:spMk id="3" creationId="{00000000-0000-0000-0000-000000000000}"/>
          </ac:spMkLst>
        </pc:spChg>
        <pc:graphicFrameChg chg="del">
          <ac:chgData name="Auradee Castro" userId="5b47d84d-e816-421d-a9bd-ea845bdedce9" providerId="ADAL" clId="{AB127C1C-99B1-422D-9BD4-E48D71ECF507}" dt="2022-12-11T05:27:02.163" v="672" actId="478"/>
          <ac:graphicFrameMkLst>
            <pc:docMk/>
            <pc:sldMk cId="4003451168" sldId="599"/>
            <ac:graphicFrameMk id="8" creationId="{D5CDD00A-B385-6583-C31B-ADBEB9C42E36}"/>
          </ac:graphicFrameMkLst>
        </pc:graphicFrameChg>
        <pc:picChg chg="add mod modCrop">
          <ac:chgData name="Auradee Castro" userId="5b47d84d-e816-421d-a9bd-ea845bdedce9" providerId="ADAL" clId="{AB127C1C-99B1-422D-9BD4-E48D71ECF507}" dt="2022-12-11T05:30:11.668" v="722" actId="1037"/>
          <ac:picMkLst>
            <pc:docMk/>
            <pc:sldMk cId="4003451168" sldId="599"/>
            <ac:picMk id="6" creationId="{F4CC53F7-2ACD-CC48-0F73-08A22B03ADFA}"/>
          </ac:picMkLst>
        </pc:picChg>
        <pc:picChg chg="mod modCrop">
          <ac:chgData name="Auradee Castro" userId="5b47d84d-e816-421d-a9bd-ea845bdedce9" providerId="ADAL" clId="{AB127C1C-99B1-422D-9BD4-E48D71ECF507}" dt="2022-12-11T05:28:54.042" v="710" actId="1036"/>
          <ac:picMkLst>
            <pc:docMk/>
            <pc:sldMk cId="4003451168" sldId="599"/>
            <ac:picMk id="7" creationId="{510D7545-B1B7-CFE6-0A83-BB7FAEF0E8F3}"/>
          </ac:picMkLst>
        </pc:picChg>
      </pc:sldChg>
      <pc:sldChg chg="modSp mod">
        <pc:chgData name="Auradee Castro" userId="5b47d84d-e816-421d-a9bd-ea845bdedce9" providerId="ADAL" clId="{AB127C1C-99B1-422D-9BD4-E48D71ECF507}" dt="2022-12-11T05:02:16.367" v="310" actId="20577"/>
        <pc:sldMkLst>
          <pc:docMk/>
          <pc:sldMk cId="2144032856" sldId="601"/>
        </pc:sldMkLst>
        <pc:spChg chg="mod">
          <ac:chgData name="Auradee Castro" userId="5b47d84d-e816-421d-a9bd-ea845bdedce9" providerId="ADAL" clId="{AB127C1C-99B1-422D-9BD4-E48D71ECF507}" dt="2022-12-11T05:02:16.367" v="310" actId="20577"/>
          <ac:spMkLst>
            <pc:docMk/>
            <pc:sldMk cId="2144032856" sldId="601"/>
            <ac:spMk id="3" creationId="{00000000-0000-0000-0000-000000000000}"/>
          </ac:spMkLst>
        </pc:spChg>
      </pc:sldChg>
      <pc:sldChg chg="modSp mod ord">
        <pc:chgData name="Auradee Castro" userId="5b47d84d-e816-421d-a9bd-ea845bdedce9" providerId="ADAL" clId="{AB127C1C-99B1-422D-9BD4-E48D71ECF507}" dt="2022-12-17T16:03:43.542" v="2583"/>
        <pc:sldMkLst>
          <pc:docMk/>
          <pc:sldMk cId="246014193" sldId="602"/>
        </pc:sldMkLst>
        <pc:graphicFrameChg chg="mod modGraphic">
          <ac:chgData name="Auradee Castro" userId="5b47d84d-e816-421d-a9bd-ea845bdedce9" providerId="ADAL" clId="{AB127C1C-99B1-422D-9BD4-E48D71ECF507}" dt="2022-12-11T05:08:56.709" v="529" actId="21"/>
          <ac:graphicFrameMkLst>
            <pc:docMk/>
            <pc:sldMk cId="246014193" sldId="602"/>
            <ac:graphicFrameMk id="4" creationId="{45D8DC30-DFBE-8442-91C6-43C246244D20}"/>
          </ac:graphicFrameMkLst>
        </pc:graphicFrameChg>
      </pc:sldChg>
      <pc:sldChg chg="modSp mod">
        <pc:chgData name="Auradee Castro" userId="5b47d84d-e816-421d-a9bd-ea845bdedce9" providerId="ADAL" clId="{AB127C1C-99B1-422D-9BD4-E48D71ECF507}" dt="2022-12-11T04:57:03.918" v="9" actId="20577"/>
        <pc:sldMkLst>
          <pc:docMk/>
          <pc:sldMk cId="2632467528" sldId="603"/>
        </pc:sldMkLst>
        <pc:spChg chg="mod">
          <ac:chgData name="Auradee Castro" userId="5b47d84d-e816-421d-a9bd-ea845bdedce9" providerId="ADAL" clId="{AB127C1C-99B1-422D-9BD4-E48D71ECF507}" dt="2022-12-11T04:57:03.918" v="9" actId="20577"/>
          <ac:spMkLst>
            <pc:docMk/>
            <pc:sldMk cId="2632467528" sldId="603"/>
            <ac:spMk id="3" creationId="{00000000-0000-0000-0000-000000000000}"/>
          </ac:spMkLst>
        </pc:spChg>
      </pc:sldChg>
      <pc:sldChg chg="addSp delSp modSp mod">
        <pc:chgData name="Auradee Castro" userId="5b47d84d-e816-421d-a9bd-ea845bdedce9" providerId="ADAL" clId="{AB127C1C-99B1-422D-9BD4-E48D71ECF507}" dt="2022-12-17T15:43:15.303" v="2253" actId="20577"/>
        <pc:sldMkLst>
          <pc:docMk/>
          <pc:sldMk cId="2435756760" sldId="604"/>
        </pc:sldMkLst>
        <pc:spChg chg="mod">
          <ac:chgData name="Auradee Castro" userId="5b47d84d-e816-421d-a9bd-ea845bdedce9" providerId="ADAL" clId="{AB127C1C-99B1-422D-9BD4-E48D71ECF507}" dt="2022-12-11T04:57:10.440" v="16" actId="20577"/>
          <ac:spMkLst>
            <pc:docMk/>
            <pc:sldMk cId="2435756760" sldId="604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57:41.235" v="1450" actId="255"/>
          <ac:spMkLst>
            <pc:docMk/>
            <pc:sldMk cId="2435756760" sldId="604"/>
            <ac:spMk id="5" creationId="{41C4773C-85B6-6E6D-5077-98A780146AB9}"/>
          </ac:spMkLst>
        </pc:spChg>
        <pc:spChg chg="add mod">
          <ac:chgData name="Auradee Castro" userId="5b47d84d-e816-421d-a9bd-ea845bdedce9" providerId="ADAL" clId="{AB127C1C-99B1-422D-9BD4-E48D71ECF507}" dt="2022-12-17T15:43:15.303" v="2253" actId="20577"/>
          <ac:spMkLst>
            <pc:docMk/>
            <pc:sldMk cId="2435756760" sldId="604"/>
            <ac:spMk id="6" creationId="{94BA7955-5287-0BDD-C36D-5A7C51677648}"/>
          </ac:spMkLst>
        </pc:spChg>
        <pc:picChg chg="mod">
          <ac:chgData name="Auradee Castro" userId="5b47d84d-e816-421d-a9bd-ea845bdedce9" providerId="ADAL" clId="{AB127C1C-99B1-422D-9BD4-E48D71ECF507}" dt="2022-12-17T15:00:14.035" v="1477" actId="1076"/>
          <ac:picMkLst>
            <pc:docMk/>
            <pc:sldMk cId="2435756760" sldId="604"/>
            <ac:picMk id="7" creationId="{AC14572C-F559-6B17-065E-F23CC6BD3B0F}"/>
          </ac:picMkLst>
        </pc:picChg>
        <pc:picChg chg="mod">
          <ac:chgData name="Auradee Castro" userId="5b47d84d-e816-421d-a9bd-ea845bdedce9" providerId="ADAL" clId="{AB127C1C-99B1-422D-9BD4-E48D71ECF507}" dt="2022-12-17T15:00:14.035" v="1477" actId="1076"/>
          <ac:picMkLst>
            <pc:docMk/>
            <pc:sldMk cId="2435756760" sldId="604"/>
            <ac:picMk id="9" creationId="{39402F72-487A-ED09-7E3D-E250582CED03}"/>
          </ac:picMkLst>
        </pc:picChg>
        <pc:inkChg chg="add del">
          <ac:chgData name="Auradee Castro" userId="5b47d84d-e816-421d-a9bd-ea845bdedce9" providerId="ADAL" clId="{AB127C1C-99B1-422D-9BD4-E48D71ECF507}" dt="2022-12-17T14:48:42.418" v="1248"/>
          <ac:inkMkLst>
            <pc:docMk/>
            <pc:sldMk cId="2435756760" sldId="604"/>
            <ac:inkMk id="4" creationId="{079EFDB9-9CB9-41F8-052A-D0F7F5870E93}"/>
          </ac:inkMkLst>
        </pc:inkChg>
        <pc:cxnChg chg="add del">
          <ac:chgData name="Auradee Castro" userId="5b47d84d-e816-421d-a9bd-ea845bdedce9" providerId="ADAL" clId="{AB127C1C-99B1-422D-9BD4-E48D71ECF507}" dt="2022-12-17T15:01:16.005" v="1485" actId="11529"/>
          <ac:cxnSpMkLst>
            <pc:docMk/>
            <pc:sldMk cId="2435756760" sldId="604"/>
            <ac:cxnSpMk id="10" creationId="{DDD0BAE2-E759-913A-3B2D-8DB5DB820288}"/>
          </ac:cxnSpMkLst>
        </pc:cxnChg>
        <pc:cxnChg chg="add del mod">
          <ac:chgData name="Auradee Castro" userId="5b47d84d-e816-421d-a9bd-ea845bdedce9" providerId="ADAL" clId="{AB127C1C-99B1-422D-9BD4-E48D71ECF507}" dt="2022-12-17T15:02:12.527" v="1495" actId="478"/>
          <ac:cxnSpMkLst>
            <pc:docMk/>
            <pc:sldMk cId="2435756760" sldId="604"/>
            <ac:cxnSpMk id="12" creationId="{58294288-6516-1658-5E79-5018530A8B8A}"/>
          </ac:cxnSpMkLst>
        </pc:cxnChg>
      </pc:sldChg>
      <pc:sldChg chg="modSp mod">
        <pc:chgData name="Auradee Castro" userId="5b47d84d-e816-421d-a9bd-ea845bdedce9" providerId="ADAL" clId="{AB127C1C-99B1-422D-9BD4-E48D71ECF507}" dt="2022-12-11T04:57:15.833" v="23" actId="20577"/>
        <pc:sldMkLst>
          <pc:docMk/>
          <pc:sldMk cId="1855197190" sldId="605"/>
        </pc:sldMkLst>
        <pc:spChg chg="mod">
          <ac:chgData name="Auradee Castro" userId="5b47d84d-e816-421d-a9bd-ea845bdedce9" providerId="ADAL" clId="{AB127C1C-99B1-422D-9BD4-E48D71ECF507}" dt="2022-12-11T04:57:15.833" v="23" actId="20577"/>
          <ac:spMkLst>
            <pc:docMk/>
            <pc:sldMk cId="1855197190" sldId="605"/>
            <ac:spMk id="3" creationId="{00000000-0000-0000-0000-000000000000}"/>
          </ac:spMkLst>
        </pc:spChg>
      </pc:sldChg>
      <pc:sldChg chg="addSp modSp mod">
        <pc:chgData name="Auradee Castro" userId="5b47d84d-e816-421d-a9bd-ea845bdedce9" providerId="ADAL" clId="{AB127C1C-99B1-422D-9BD4-E48D71ECF507}" dt="2022-12-17T15:43:06.176" v="2246" actId="20577"/>
        <pc:sldMkLst>
          <pc:docMk/>
          <pc:sldMk cId="2112163537" sldId="606"/>
        </pc:sldMkLst>
        <pc:spChg chg="mod">
          <ac:chgData name="Auradee Castro" userId="5b47d84d-e816-421d-a9bd-ea845bdedce9" providerId="ADAL" clId="{AB127C1C-99B1-422D-9BD4-E48D71ECF507}" dt="2022-12-11T04:57:28.095" v="37" actId="20577"/>
          <ac:spMkLst>
            <pc:docMk/>
            <pc:sldMk cId="2112163537" sldId="606"/>
            <ac:spMk id="3" creationId="{00000000-0000-0000-0000-000000000000}"/>
          </ac:spMkLst>
        </pc:spChg>
        <pc:spChg chg="add mod">
          <ac:chgData name="Auradee Castro" userId="5b47d84d-e816-421d-a9bd-ea845bdedce9" providerId="ADAL" clId="{AB127C1C-99B1-422D-9BD4-E48D71ECF507}" dt="2022-12-17T15:43:06.176" v="2246" actId="20577"/>
          <ac:spMkLst>
            <pc:docMk/>
            <pc:sldMk cId="2112163537" sldId="606"/>
            <ac:spMk id="4" creationId="{B9E338CD-4CDD-F1E1-80C0-85CCF86812CE}"/>
          </ac:spMkLst>
        </pc:spChg>
        <pc:spChg chg="mod">
          <ac:chgData name="Auradee Castro" userId="5b47d84d-e816-421d-a9bd-ea845bdedce9" providerId="ADAL" clId="{AB127C1C-99B1-422D-9BD4-E48D71ECF507}" dt="2022-12-17T14:55:50.015" v="1434" actId="255"/>
          <ac:spMkLst>
            <pc:docMk/>
            <pc:sldMk cId="2112163537" sldId="606"/>
            <ac:spMk id="5" creationId="{41C4773C-85B6-6E6D-5077-98A780146AB9}"/>
          </ac:spMkLst>
        </pc:spChg>
        <pc:picChg chg="mod">
          <ac:chgData name="Auradee Castro" userId="5b47d84d-e816-421d-a9bd-ea845bdedce9" providerId="ADAL" clId="{AB127C1C-99B1-422D-9BD4-E48D71ECF507}" dt="2022-12-17T15:42:31.860" v="2212" actId="1037"/>
          <ac:picMkLst>
            <pc:docMk/>
            <pc:sldMk cId="2112163537" sldId="606"/>
            <ac:picMk id="7" creationId="{D2366F67-CD4B-3FDF-F4D7-9355DF70363B}"/>
          </ac:picMkLst>
        </pc:picChg>
      </pc:sldChg>
      <pc:sldChg chg="modSp mod">
        <pc:chgData name="Auradee Castro" userId="5b47d84d-e816-421d-a9bd-ea845bdedce9" providerId="ADAL" clId="{AB127C1C-99B1-422D-9BD4-E48D71ECF507}" dt="2022-12-17T15:44:00.702" v="2255" actId="255"/>
        <pc:sldMkLst>
          <pc:docMk/>
          <pc:sldMk cId="1442213581" sldId="607"/>
        </pc:sldMkLst>
        <pc:spChg chg="mod">
          <ac:chgData name="Auradee Castro" userId="5b47d84d-e816-421d-a9bd-ea845bdedce9" providerId="ADAL" clId="{AB127C1C-99B1-422D-9BD4-E48D71ECF507}" dt="2022-12-11T04:57:49.014" v="66" actId="20577"/>
          <ac:spMkLst>
            <pc:docMk/>
            <pc:sldMk cId="1442213581" sldId="607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44:00.702" v="2255" actId="255"/>
          <ac:spMkLst>
            <pc:docMk/>
            <pc:sldMk cId="1442213581" sldId="607"/>
            <ac:spMk id="8" creationId="{088D8D01-AB88-F824-53BF-6B3F74BDE2F1}"/>
          </ac:spMkLst>
        </pc:spChg>
      </pc:sldChg>
      <pc:sldChg chg="modSp mod">
        <pc:chgData name="Auradee Castro" userId="5b47d84d-e816-421d-a9bd-ea845bdedce9" providerId="ADAL" clId="{AB127C1C-99B1-422D-9BD4-E48D71ECF507}" dt="2022-12-17T15:43:55.415" v="2254" actId="255"/>
        <pc:sldMkLst>
          <pc:docMk/>
          <pc:sldMk cId="3520441724" sldId="608"/>
        </pc:sldMkLst>
        <pc:spChg chg="mod">
          <ac:chgData name="Auradee Castro" userId="5b47d84d-e816-421d-a9bd-ea845bdedce9" providerId="ADAL" clId="{AB127C1C-99B1-422D-9BD4-E48D71ECF507}" dt="2022-12-11T04:57:44.010" v="60" actId="20577"/>
          <ac:spMkLst>
            <pc:docMk/>
            <pc:sldMk cId="3520441724" sldId="608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43:55.415" v="2254" actId="255"/>
          <ac:spMkLst>
            <pc:docMk/>
            <pc:sldMk cId="3520441724" sldId="608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1T04:57:20.697" v="30" actId="20577"/>
        <pc:sldMkLst>
          <pc:docMk/>
          <pc:sldMk cId="1452097377" sldId="609"/>
        </pc:sldMkLst>
        <pc:spChg chg="mod">
          <ac:chgData name="Auradee Castro" userId="5b47d84d-e816-421d-a9bd-ea845bdedce9" providerId="ADAL" clId="{AB127C1C-99B1-422D-9BD4-E48D71ECF507}" dt="2022-12-11T04:57:20.697" v="30" actId="20577"/>
          <ac:spMkLst>
            <pc:docMk/>
            <pc:sldMk cId="1452097377" sldId="609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7:34.025" v="46" actId="20577"/>
        <pc:sldMkLst>
          <pc:docMk/>
          <pc:sldMk cId="56443454" sldId="610"/>
        </pc:sldMkLst>
        <pc:spChg chg="mod">
          <ac:chgData name="Auradee Castro" userId="5b47d84d-e816-421d-a9bd-ea845bdedce9" providerId="ADAL" clId="{AB127C1C-99B1-422D-9BD4-E48D71ECF507}" dt="2022-12-11T04:57:34.025" v="46" actId="20577"/>
          <ac:spMkLst>
            <pc:docMk/>
            <pc:sldMk cId="56443454" sldId="610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8:37.578" v="88" actId="20577"/>
        <pc:sldMkLst>
          <pc:docMk/>
          <pc:sldMk cId="685905291" sldId="611"/>
        </pc:sldMkLst>
        <pc:spChg chg="mod">
          <ac:chgData name="Auradee Castro" userId="5b47d84d-e816-421d-a9bd-ea845bdedce9" providerId="ADAL" clId="{AB127C1C-99B1-422D-9BD4-E48D71ECF507}" dt="2022-12-11T04:58:37.578" v="88" actId="20577"/>
          <ac:spMkLst>
            <pc:docMk/>
            <pc:sldMk cId="685905291" sldId="611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8:46.334" v="102" actId="20577"/>
        <pc:sldMkLst>
          <pc:docMk/>
          <pc:sldMk cId="3431194666" sldId="612"/>
        </pc:sldMkLst>
        <pc:spChg chg="mod">
          <ac:chgData name="Auradee Castro" userId="5b47d84d-e816-421d-a9bd-ea845bdedce9" providerId="ADAL" clId="{AB127C1C-99B1-422D-9BD4-E48D71ECF507}" dt="2022-12-11T04:58:46.334" v="102" actId="20577"/>
          <ac:spMkLst>
            <pc:docMk/>
            <pc:sldMk cId="3431194666" sldId="612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31.722" v="165" actId="20577"/>
        <pc:sldMkLst>
          <pc:docMk/>
          <pc:sldMk cId="844462552" sldId="613"/>
        </pc:sldMkLst>
        <pc:spChg chg="mod">
          <ac:chgData name="Auradee Castro" userId="5b47d84d-e816-421d-a9bd-ea845bdedce9" providerId="ADAL" clId="{AB127C1C-99B1-422D-9BD4-E48D71ECF507}" dt="2022-12-11T04:59:31.722" v="165" actId="20577"/>
          <ac:spMkLst>
            <pc:docMk/>
            <pc:sldMk cId="844462552" sldId="613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26.999" v="159" actId="20577"/>
        <pc:sldMkLst>
          <pc:docMk/>
          <pc:sldMk cId="1534165633" sldId="614"/>
        </pc:sldMkLst>
        <pc:spChg chg="mod">
          <ac:chgData name="Auradee Castro" userId="5b47d84d-e816-421d-a9bd-ea845bdedce9" providerId="ADAL" clId="{AB127C1C-99B1-422D-9BD4-E48D71ECF507}" dt="2022-12-11T04:59:26.999" v="159" actId="20577"/>
          <ac:spMkLst>
            <pc:docMk/>
            <pc:sldMk cId="1534165633" sldId="614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8:51.537" v="113" actId="20577"/>
        <pc:sldMkLst>
          <pc:docMk/>
          <pc:sldMk cId="774515410" sldId="615"/>
        </pc:sldMkLst>
        <pc:spChg chg="mod">
          <ac:chgData name="Auradee Castro" userId="5b47d84d-e816-421d-a9bd-ea845bdedce9" providerId="ADAL" clId="{AB127C1C-99B1-422D-9BD4-E48D71ECF507}" dt="2022-12-11T04:58:51.537" v="113" actId="20577"/>
          <ac:spMkLst>
            <pc:docMk/>
            <pc:sldMk cId="774515410" sldId="615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02.253" v="127" actId="20577"/>
        <pc:sldMkLst>
          <pc:docMk/>
          <pc:sldMk cId="2154859335" sldId="616"/>
        </pc:sldMkLst>
        <pc:spChg chg="mod">
          <ac:chgData name="Auradee Castro" userId="5b47d84d-e816-421d-a9bd-ea845bdedce9" providerId="ADAL" clId="{AB127C1C-99B1-422D-9BD4-E48D71ECF507}" dt="2022-12-11T04:59:02.253" v="127" actId="20577"/>
          <ac:spMkLst>
            <pc:docMk/>
            <pc:sldMk cId="2154859335" sldId="616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07.461" v="134" actId="20577"/>
        <pc:sldMkLst>
          <pc:docMk/>
          <pc:sldMk cId="2078361133" sldId="617"/>
        </pc:sldMkLst>
        <pc:spChg chg="mod">
          <ac:chgData name="Auradee Castro" userId="5b47d84d-e816-421d-a9bd-ea845bdedce9" providerId="ADAL" clId="{AB127C1C-99B1-422D-9BD4-E48D71ECF507}" dt="2022-12-11T04:59:07.461" v="134" actId="20577"/>
          <ac:spMkLst>
            <pc:docMk/>
            <pc:sldMk cId="2078361133" sldId="617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12.354" v="141" actId="20577"/>
        <pc:sldMkLst>
          <pc:docMk/>
          <pc:sldMk cId="1495003384" sldId="618"/>
        </pc:sldMkLst>
        <pc:spChg chg="mod">
          <ac:chgData name="Auradee Castro" userId="5b47d84d-e816-421d-a9bd-ea845bdedce9" providerId="ADAL" clId="{AB127C1C-99B1-422D-9BD4-E48D71ECF507}" dt="2022-12-11T04:59:12.354" v="141" actId="20577"/>
          <ac:spMkLst>
            <pc:docMk/>
            <pc:sldMk cId="1495003384" sldId="618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4:59:17.728" v="147" actId="20577"/>
        <pc:sldMkLst>
          <pc:docMk/>
          <pc:sldMk cId="3218492174" sldId="619"/>
        </pc:sldMkLst>
        <pc:spChg chg="mod">
          <ac:chgData name="Auradee Castro" userId="5b47d84d-e816-421d-a9bd-ea845bdedce9" providerId="ADAL" clId="{AB127C1C-99B1-422D-9BD4-E48D71ECF507}" dt="2022-12-11T04:59:17.728" v="147" actId="20577"/>
          <ac:spMkLst>
            <pc:docMk/>
            <pc:sldMk cId="3218492174" sldId="619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7T14:37:21.848" v="1043" actId="113"/>
        <pc:sldMkLst>
          <pc:docMk/>
          <pc:sldMk cId="116206214" sldId="620"/>
        </pc:sldMkLst>
        <pc:spChg chg="mod">
          <ac:chgData name="Auradee Castro" userId="5b47d84d-e816-421d-a9bd-ea845bdedce9" providerId="ADAL" clId="{AB127C1C-99B1-422D-9BD4-E48D71ECF507}" dt="2022-12-11T04:59:58.491" v="197" actId="20577"/>
          <ac:spMkLst>
            <pc:docMk/>
            <pc:sldMk cId="116206214" sldId="620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7:21.848" v="1043" actId="113"/>
          <ac:spMkLst>
            <pc:docMk/>
            <pc:sldMk cId="116206214" sldId="620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4:37:16.533" v="1041" actId="255"/>
        <pc:sldMkLst>
          <pc:docMk/>
          <pc:sldMk cId="2271460558" sldId="621"/>
        </pc:sldMkLst>
        <pc:spChg chg="mod">
          <ac:chgData name="Auradee Castro" userId="5b47d84d-e816-421d-a9bd-ea845bdedce9" providerId="ADAL" clId="{AB127C1C-99B1-422D-9BD4-E48D71ECF507}" dt="2022-12-11T04:59:47.005" v="179" actId="20577"/>
          <ac:spMkLst>
            <pc:docMk/>
            <pc:sldMk cId="2271460558" sldId="621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7:16.533" v="1041" actId="255"/>
          <ac:spMkLst>
            <pc:docMk/>
            <pc:sldMk cId="2271460558" sldId="621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6:04:30.122" v="2587"/>
        <pc:sldMkLst>
          <pc:docMk/>
          <pc:sldMk cId="702641607" sldId="623"/>
        </pc:sldMkLst>
        <pc:spChg chg="mod">
          <ac:chgData name="Auradee Castro" userId="5b47d84d-e816-421d-a9bd-ea845bdedce9" providerId="ADAL" clId="{AB127C1C-99B1-422D-9BD4-E48D71ECF507}" dt="2022-12-17T16:04:30.122" v="2587"/>
          <ac:spMkLst>
            <pc:docMk/>
            <pc:sldMk cId="702641607" sldId="623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04:37.193" v="1554" actId="20577"/>
          <ac:spMkLst>
            <pc:docMk/>
            <pc:sldMk cId="702641607" sldId="623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6:04:32.290" v="2588"/>
        <pc:sldMkLst>
          <pc:docMk/>
          <pc:sldMk cId="2028254015" sldId="624"/>
        </pc:sldMkLst>
        <pc:spChg chg="mod">
          <ac:chgData name="Auradee Castro" userId="5b47d84d-e816-421d-a9bd-ea845bdedce9" providerId="ADAL" clId="{AB127C1C-99B1-422D-9BD4-E48D71ECF507}" dt="2022-12-17T16:04:32.290" v="2588"/>
          <ac:spMkLst>
            <pc:docMk/>
            <pc:sldMk cId="2028254015" sldId="624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7:49.411" v="1065" actId="20577"/>
          <ac:spMkLst>
            <pc:docMk/>
            <pc:sldMk cId="2028254015" sldId="624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6:04:34.962" v="2589"/>
        <pc:sldMkLst>
          <pc:docMk/>
          <pc:sldMk cId="3409827628" sldId="625"/>
        </pc:sldMkLst>
        <pc:spChg chg="mod">
          <ac:chgData name="Auradee Castro" userId="5b47d84d-e816-421d-a9bd-ea845bdedce9" providerId="ADAL" clId="{AB127C1C-99B1-422D-9BD4-E48D71ECF507}" dt="2022-12-17T16:04:34.962" v="2589"/>
          <ac:spMkLst>
            <pc:docMk/>
            <pc:sldMk cId="3409827628" sldId="625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40:23.802" v="1143" actId="14100"/>
          <ac:spMkLst>
            <pc:docMk/>
            <pc:sldMk cId="3409827628" sldId="625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6:04:39.018" v="2590"/>
        <pc:sldMkLst>
          <pc:docMk/>
          <pc:sldMk cId="2742661342" sldId="626"/>
        </pc:sldMkLst>
        <pc:spChg chg="mod">
          <ac:chgData name="Auradee Castro" userId="5b47d84d-e816-421d-a9bd-ea845bdedce9" providerId="ADAL" clId="{AB127C1C-99B1-422D-9BD4-E48D71ECF507}" dt="2022-12-17T16:04:39.018" v="2590"/>
          <ac:spMkLst>
            <pc:docMk/>
            <pc:sldMk cId="2742661342" sldId="626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7T16:04:42.320" v="2591"/>
        <pc:sldMkLst>
          <pc:docMk/>
          <pc:sldMk cId="3132168250" sldId="627"/>
        </pc:sldMkLst>
        <pc:spChg chg="mod">
          <ac:chgData name="Auradee Castro" userId="5b47d84d-e816-421d-a9bd-ea845bdedce9" providerId="ADAL" clId="{AB127C1C-99B1-422D-9BD4-E48D71ECF507}" dt="2022-12-17T16:04:42.320" v="2591"/>
          <ac:spMkLst>
            <pc:docMk/>
            <pc:sldMk cId="3132168250" sldId="627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8:04.747" v="1087" actId="20577"/>
          <ac:spMkLst>
            <pc:docMk/>
            <pc:sldMk cId="3132168250" sldId="627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4:40:03.600" v="1139" actId="14100"/>
        <pc:sldMkLst>
          <pc:docMk/>
          <pc:sldMk cId="3869937169" sldId="628"/>
        </pc:sldMkLst>
        <pc:spChg chg="mod">
          <ac:chgData name="Auradee Castro" userId="5b47d84d-e816-421d-a9bd-ea845bdedce9" providerId="ADAL" clId="{AB127C1C-99B1-422D-9BD4-E48D71ECF507}" dt="2022-12-11T05:01:31.388" v="286" actId="20577"/>
          <ac:spMkLst>
            <pc:docMk/>
            <pc:sldMk cId="3869937169" sldId="628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40:03.600" v="1139" actId="14100"/>
          <ac:spMkLst>
            <pc:docMk/>
            <pc:sldMk cId="3869937169" sldId="628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4:38:19.716" v="1100" actId="20577"/>
        <pc:sldMkLst>
          <pc:docMk/>
          <pc:sldMk cId="3510090523" sldId="629"/>
        </pc:sldMkLst>
        <pc:spChg chg="mod">
          <ac:chgData name="Auradee Castro" userId="5b47d84d-e816-421d-a9bd-ea845bdedce9" providerId="ADAL" clId="{AB127C1C-99B1-422D-9BD4-E48D71ECF507}" dt="2022-12-11T05:01:12.040" v="258" actId="20577"/>
          <ac:spMkLst>
            <pc:docMk/>
            <pc:sldMk cId="3510090523" sldId="629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8:19.716" v="1100" actId="20577"/>
          <ac:spMkLst>
            <pc:docMk/>
            <pc:sldMk cId="3510090523" sldId="629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1T05:01:07.026" v="251" actId="20577"/>
        <pc:sldMkLst>
          <pc:docMk/>
          <pc:sldMk cId="1155128892" sldId="630"/>
        </pc:sldMkLst>
        <pc:spChg chg="mod">
          <ac:chgData name="Auradee Castro" userId="5b47d84d-e816-421d-a9bd-ea845bdedce9" providerId="ADAL" clId="{AB127C1C-99B1-422D-9BD4-E48D71ECF507}" dt="2022-12-11T05:01:07.026" v="251" actId="20577"/>
          <ac:spMkLst>
            <pc:docMk/>
            <pc:sldMk cId="1155128892" sldId="630"/>
            <ac:spMk id="3" creationId="{00000000-0000-0000-0000-000000000000}"/>
          </ac:spMkLst>
        </pc:spChg>
      </pc:sldChg>
      <pc:sldChg chg="addSp delSp modSp mod">
        <pc:chgData name="Auradee Castro" userId="5b47d84d-e816-421d-a9bd-ea845bdedce9" providerId="ADAL" clId="{AB127C1C-99B1-422D-9BD4-E48D71ECF507}" dt="2022-12-11T05:29:56.217" v="718" actId="1037"/>
        <pc:sldMkLst>
          <pc:docMk/>
          <pc:sldMk cId="1327197750" sldId="631"/>
        </pc:sldMkLst>
        <pc:spChg chg="mod">
          <ac:chgData name="Auradee Castro" userId="5b47d84d-e816-421d-a9bd-ea845bdedce9" providerId="ADAL" clId="{AB127C1C-99B1-422D-9BD4-E48D71ECF507}" dt="2022-12-11T05:01:17.051" v="265" actId="20577"/>
          <ac:spMkLst>
            <pc:docMk/>
            <pc:sldMk cId="1327197750" sldId="631"/>
            <ac:spMk id="3" creationId="{00000000-0000-0000-0000-000000000000}"/>
          </ac:spMkLst>
        </pc:spChg>
        <pc:graphicFrameChg chg="del">
          <ac:chgData name="Auradee Castro" userId="5b47d84d-e816-421d-a9bd-ea845bdedce9" providerId="ADAL" clId="{AB127C1C-99B1-422D-9BD4-E48D71ECF507}" dt="2022-12-11T05:29:33.523" v="711" actId="478"/>
          <ac:graphicFrameMkLst>
            <pc:docMk/>
            <pc:sldMk cId="1327197750" sldId="631"/>
            <ac:graphicFrameMk id="8" creationId="{D5CDD00A-B385-6583-C31B-ADBEB9C42E36}"/>
          </ac:graphicFrameMkLst>
        </pc:graphicFrameChg>
        <pc:picChg chg="del">
          <ac:chgData name="Auradee Castro" userId="5b47d84d-e816-421d-a9bd-ea845bdedce9" providerId="ADAL" clId="{AB127C1C-99B1-422D-9BD4-E48D71ECF507}" dt="2022-12-11T05:29:48.452" v="712" actId="478"/>
          <ac:picMkLst>
            <pc:docMk/>
            <pc:sldMk cId="1327197750" sldId="631"/>
            <ac:picMk id="4" creationId="{E9ACA8A6-778B-8D9A-DD12-BBBC9505A0D1}"/>
          </ac:picMkLst>
        </pc:picChg>
        <pc:picChg chg="add mod">
          <ac:chgData name="Auradee Castro" userId="5b47d84d-e816-421d-a9bd-ea845bdedce9" providerId="ADAL" clId="{AB127C1C-99B1-422D-9BD4-E48D71ECF507}" dt="2022-12-11T05:29:48.822" v="713"/>
          <ac:picMkLst>
            <pc:docMk/>
            <pc:sldMk cId="1327197750" sldId="631"/>
            <ac:picMk id="6" creationId="{38C38794-1BDE-94D8-0DE1-8347B0FDEAE8}"/>
          </ac:picMkLst>
        </pc:picChg>
        <pc:picChg chg="add mod">
          <ac:chgData name="Auradee Castro" userId="5b47d84d-e816-421d-a9bd-ea845bdedce9" providerId="ADAL" clId="{AB127C1C-99B1-422D-9BD4-E48D71ECF507}" dt="2022-12-11T05:29:56.217" v="718" actId="1037"/>
          <ac:picMkLst>
            <pc:docMk/>
            <pc:sldMk cId="1327197750" sldId="631"/>
            <ac:picMk id="7" creationId="{6369F82C-FC34-44C9-76F2-F9F2E809BA3F}"/>
          </ac:picMkLst>
        </pc:picChg>
      </pc:sldChg>
      <pc:sldChg chg="modSp mod">
        <pc:chgData name="Auradee Castro" userId="5b47d84d-e816-421d-a9bd-ea845bdedce9" providerId="ADAL" clId="{AB127C1C-99B1-422D-9BD4-E48D71ECF507}" dt="2022-12-11T05:01:21.943" v="272" actId="20577"/>
        <pc:sldMkLst>
          <pc:docMk/>
          <pc:sldMk cId="1379546326" sldId="632"/>
        </pc:sldMkLst>
        <pc:spChg chg="mod">
          <ac:chgData name="Auradee Castro" userId="5b47d84d-e816-421d-a9bd-ea845bdedce9" providerId="ADAL" clId="{AB127C1C-99B1-422D-9BD4-E48D71ECF507}" dt="2022-12-11T05:01:21.943" v="272" actId="20577"/>
          <ac:spMkLst>
            <pc:docMk/>
            <pc:sldMk cId="1379546326" sldId="632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7T14:38:27.382" v="1102" actId="207"/>
        <pc:sldMkLst>
          <pc:docMk/>
          <pc:sldMk cId="3453247445" sldId="633"/>
        </pc:sldMkLst>
        <pc:spChg chg="mod">
          <ac:chgData name="Auradee Castro" userId="5b47d84d-e816-421d-a9bd-ea845bdedce9" providerId="ADAL" clId="{AB127C1C-99B1-422D-9BD4-E48D71ECF507}" dt="2022-12-11T05:01:26.788" v="279" actId="20577"/>
          <ac:spMkLst>
            <pc:docMk/>
            <pc:sldMk cId="3453247445" sldId="633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8:27.382" v="1102" actId="207"/>
          <ac:spMkLst>
            <pc:docMk/>
            <pc:sldMk cId="3453247445" sldId="633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7T14:39:54.602" v="1138" actId="20577"/>
        <pc:sldMkLst>
          <pc:docMk/>
          <pc:sldMk cId="3605794699" sldId="634"/>
        </pc:sldMkLst>
        <pc:spChg chg="mod">
          <ac:chgData name="Auradee Castro" userId="5b47d84d-e816-421d-a9bd-ea845bdedce9" providerId="ADAL" clId="{AB127C1C-99B1-422D-9BD4-E48D71ECF507}" dt="2022-12-11T05:01:36.377" v="293" actId="20577"/>
          <ac:spMkLst>
            <pc:docMk/>
            <pc:sldMk cId="3605794699" sldId="634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9:54.602" v="1138" actId="20577"/>
          <ac:spMkLst>
            <pc:docMk/>
            <pc:sldMk cId="3605794699" sldId="634"/>
            <ac:spMk id="5" creationId="{41C4773C-85B6-6E6D-5077-98A780146AB9}"/>
          </ac:spMkLst>
        </pc:spChg>
      </pc:sldChg>
      <pc:sldChg chg="addSp modSp mod ord">
        <pc:chgData name="Auradee Castro" userId="5b47d84d-e816-421d-a9bd-ea845bdedce9" providerId="ADAL" clId="{AB127C1C-99B1-422D-9BD4-E48D71ECF507}" dt="2022-12-17T16:05:53.825" v="2599" actId="255"/>
        <pc:sldMkLst>
          <pc:docMk/>
          <pc:sldMk cId="3764432876" sldId="635"/>
        </pc:sldMkLst>
        <pc:spChg chg="mod">
          <ac:chgData name="Auradee Castro" userId="5b47d84d-e816-421d-a9bd-ea845bdedce9" providerId="ADAL" clId="{AB127C1C-99B1-422D-9BD4-E48D71ECF507}" dt="2022-12-17T16:03:35.545" v="2580"/>
          <ac:spMkLst>
            <pc:docMk/>
            <pc:sldMk cId="3764432876" sldId="635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6:05:53.825" v="2599" actId="255"/>
          <ac:spMkLst>
            <pc:docMk/>
            <pc:sldMk cId="3764432876" sldId="635"/>
            <ac:spMk id="6" creationId="{7D9DC680-720B-5BB2-84CE-E508339FC7B3}"/>
          </ac:spMkLst>
        </pc:spChg>
        <pc:picChg chg="add mod">
          <ac:chgData name="Auradee Castro" userId="5b47d84d-e816-421d-a9bd-ea845bdedce9" providerId="ADAL" clId="{AB127C1C-99B1-422D-9BD4-E48D71ECF507}" dt="2022-12-17T15:48:43.998" v="2293" actId="1076"/>
          <ac:picMkLst>
            <pc:docMk/>
            <pc:sldMk cId="3764432876" sldId="635"/>
            <ac:picMk id="5" creationId="{35053360-4F22-1474-BD01-BCCF31FA7C3C}"/>
          </ac:picMkLst>
        </pc:picChg>
      </pc:sldChg>
      <pc:sldChg chg="modSp mod">
        <pc:chgData name="Auradee Castro" userId="5b47d84d-e816-421d-a9bd-ea845bdedce9" providerId="ADAL" clId="{AB127C1C-99B1-422D-9BD4-E48D71ECF507}" dt="2022-12-17T14:36:49.290" v="1039" actId="207"/>
        <pc:sldMkLst>
          <pc:docMk/>
          <pc:sldMk cId="2303833641" sldId="637"/>
        </pc:sldMkLst>
        <pc:spChg chg="mod">
          <ac:chgData name="Auradee Castro" userId="5b47d84d-e816-421d-a9bd-ea845bdedce9" providerId="ADAL" clId="{AB127C1C-99B1-422D-9BD4-E48D71ECF507}" dt="2022-12-11T04:58:41.573" v="95" actId="20577"/>
          <ac:spMkLst>
            <pc:docMk/>
            <pc:sldMk cId="2303833641" sldId="637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4:36:49.290" v="1039" actId="207"/>
          <ac:spMkLst>
            <pc:docMk/>
            <pc:sldMk cId="2303833641" sldId="637"/>
            <ac:spMk id="5" creationId="{41C4773C-85B6-6E6D-5077-98A780146AB9}"/>
          </ac:spMkLst>
        </pc:spChg>
      </pc:sldChg>
      <pc:sldChg chg="modSp mod">
        <pc:chgData name="Auradee Castro" userId="5b47d84d-e816-421d-a9bd-ea845bdedce9" providerId="ADAL" clId="{AB127C1C-99B1-422D-9BD4-E48D71ECF507}" dt="2022-12-11T04:58:56.555" v="120" actId="20577"/>
        <pc:sldMkLst>
          <pc:docMk/>
          <pc:sldMk cId="783103124" sldId="639"/>
        </pc:sldMkLst>
        <pc:spChg chg="mod">
          <ac:chgData name="Auradee Castro" userId="5b47d84d-e816-421d-a9bd-ea845bdedce9" providerId="ADAL" clId="{AB127C1C-99B1-422D-9BD4-E48D71ECF507}" dt="2022-12-11T04:58:56.555" v="120" actId="20577"/>
          <ac:spMkLst>
            <pc:docMk/>
            <pc:sldMk cId="783103124" sldId="639"/>
            <ac:spMk id="3" creationId="{00000000-0000-0000-0000-000000000000}"/>
          </ac:spMkLst>
        </pc:spChg>
      </pc:sldChg>
      <pc:sldChg chg="addSp delSp modSp mod">
        <pc:chgData name="Auradee Castro" userId="5b47d84d-e816-421d-a9bd-ea845bdedce9" providerId="ADAL" clId="{AB127C1C-99B1-422D-9BD4-E48D71ECF507}" dt="2022-12-17T14:46:03.995" v="1246" actId="9405"/>
        <pc:sldMkLst>
          <pc:docMk/>
          <pc:sldMk cId="437159741" sldId="640"/>
        </pc:sldMkLst>
        <pc:spChg chg="mod">
          <ac:chgData name="Auradee Castro" userId="5b47d84d-e816-421d-a9bd-ea845bdedce9" providerId="ADAL" clId="{AB127C1C-99B1-422D-9BD4-E48D71ECF507}" dt="2022-12-11T04:59:22.299" v="153" actId="20577"/>
          <ac:spMkLst>
            <pc:docMk/>
            <pc:sldMk cId="437159741" sldId="640"/>
            <ac:spMk id="3" creationId="{00000000-0000-0000-0000-000000000000}"/>
          </ac:spMkLst>
        </pc:spChg>
        <pc:inkChg chg="add del">
          <ac:chgData name="Auradee Castro" userId="5b47d84d-e816-421d-a9bd-ea845bdedce9" providerId="ADAL" clId="{AB127C1C-99B1-422D-9BD4-E48D71ECF507}" dt="2022-12-17T14:45:03.486" v="1220" actId="9405"/>
          <ac:inkMkLst>
            <pc:docMk/>
            <pc:sldMk cId="437159741" sldId="640"/>
            <ac:inkMk id="4" creationId="{B2223318-25BA-3AE7-FAB2-B6D874611AAA}"/>
          </ac:inkMkLst>
        </pc:inkChg>
        <pc:inkChg chg="add">
          <ac:chgData name="Auradee Castro" userId="5b47d84d-e816-421d-a9bd-ea845bdedce9" providerId="ADAL" clId="{AB127C1C-99B1-422D-9BD4-E48D71ECF507}" dt="2022-12-17T14:45:06.561" v="1221" actId="9405"/>
          <ac:inkMkLst>
            <pc:docMk/>
            <pc:sldMk cId="437159741" sldId="640"/>
            <ac:inkMk id="7" creationId="{2F736308-4245-67C6-824F-02CAB29B37F3}"/>
          </ac:inkMkLst>
        </pc:inkChg>
        <pc:inkChg chg="add del">
          <ac:chgData name="Auradee Castro" userId="5b47d84d-e816-421d-a9bd-ea845bdedce9" providerId="ADAL" clId="{AB127C1C-99B1-422D-9BD4-E48D71ECF507}" dt="2022-12-17T14:45:15.786" v="1228"/>
          <ac:inkMkLst>
            <pc:docMk/>
            <pc:sldMk cId="437159741" sldId="640"/>
            <ac:inkMk id="8" creationId="{CC482D43-396F-2975-98F8-909FB08D0F2C}"/>
          </ac:inkMkLst>
        </pc:inkChg>
        <pc:inkChg chg="add del">
          <ac:chgData name="Auradee Castro" userId="5b47d84d-e816-421d-a9bd-ea845bdedce9" providerId="ADAL" clId="{AB127C1C-99B1-422D-9BD4-E48D71ECF507}" dt="2022-12-17T14:45:15.147" v="1226"/>
          <ac:inkMkLst>
            <pc:docMk/>
            <pc:sldMk cId="437159741" sldId="640"/>
            <ac:inkMk id="9" creationId="{B7632F9E-7BEE-4620-0D9A-FF90CDF1EC97}"/>
          </ac:inkMkLst>
        </pc:inkChg>
        <pc:inkChg chg="add del">
          <ac:chgData name="Auradee Castro" userId="5b47d84d-e816-421d-a9bd-ea845bdedce9" providerId="ADAL" clId="{AB127C1C-99B1-422D-9BD4-E48D71ECF507}" dt="2022-12-17T14:45:15.147" v="1225"/>
          <ac:inkMkLst>
            <pc:docMk/>
            <pc:sldMk cId="437159741" sldId="640"/>
            <ac:inkMk id="11" creationId="{0132AC80-39B4-4BA9-50A8-BD0C1173BE10}"/>
          </ac:inkMkLst>
        </pc:inkChg>
        <pc:inkChg chg="add">
          <ac:chgData name="Auradee Castro" userId="5b47d84d-e816-421d-a9bd-ea845bdedce9" providerId="ADAL" clId="{AB127C1C-99B1-422D-9BD4-E48D71ECF507}" dt="2022-12-17T14:45:20.229" v="1230" actId="9405"/>
          <ac:inkMkLst>
            <pc:docMk/>
            <pc:sldMk cId="437159741" sldId="640"/>
            <ac:inkMk id="15" creationId="{4DD591CD-7279-E95F-7E71-C9BDE374D93E}"/>
          </ac:inkMkLst>
        </pc:inkChg>
        <pc:inkChg chg="add del">
          <ac:chgData name="Auradee Castro" userId="5b47d84d-e816-421d-a9bd-ea845bdedce9" providerId="ADAL" clId="{AB127C1C-99B1-422D-9BD4-E48D71ECF507}" dt="2022-12-17T14:45:30.631" v="1234" actId="9405"/>
          <ac:inkMkLst>
            <pc:docMk/>
            <pc:sldMk cId="437159741" sldId="640"/>
            <ac:inkMk id="17" creationId="{4F099DD1-4676-2B6D-31A2-DCC4635D8687}"/>
          </ac:inkMkLst>
        </pc:inkChg>
        <pc:inkChg chg="add del">
          <ac:chgData name="Auradee Castro" userId="5b47d84d-e816-421d-a9bd-ea845bdedce9" providerId="ADAL" clId="{AB127C1C-99B1-422D-9BD4-E48D71ECF507}" dt="2022-12-17T14:45:33.197" v="1236" actId="9405"/>
          <ac:inkMkLst>
            <pc:docMk/>
            <pc:sldMk cId="437159741" sldId="640"/>
            <ac:inkMk id="18" creationId="{5F7B901D-5CC1-C081-A2FF-FD762EEB4840}"/>
          </ac:inkMkLst>
        </pc:inkChg>
        <pc:inkChg chg="add">
          <ac:chgData name="Auradee Castro" userId="5b47d84d-e816-421d-a9bd-ea845bdedce9" providerId="ADAL" clId="{AB127C1C-99B1-422D-9BD4-E48D71ECF507}" dt="2022-12-17T14:45:35.798" v="1237" actId="9405"/>
          <ac:inkMkLst>
            <pc:docMk/>
            <pc:sldMk cId="437159741" sldId="640"/>
            <ac:inkMk id="19" creationId="{19C9E6C7-7DA7-EB71-A4B5-ACBEE4E4E82B}"/>
          </ac:inkMkLst>
        </pc:inkChg>
        <pc:inkChg chg="del">
          <ac:chgData name="Auradee Castro" userId="5b47d84d-e816-421d-a9bd-ea845bdedce9" providerId="ADAL" clId="{AB127C1C-99B1-422D-9BD4-E48D71ECF507}" dt="2022-12-17T14:45:16.328" v="1229"/>
          <ac:inkMkLst>
            <pc:docMk/>
            <pc:sldMk cId="437159741" sldId="640"/>
            <ac:inkMk id="20" creationId="{029C0DC9-AB05-777C-6028-8941B3C27843}"/>
          </ac:inkMkLst>
        </pc:inkChg>
        <pc:inkChg chg="add">
          <ac:chgData name="Auradee Castro" userId="5b47d84d-e816-421d-a9bd-ea845bdedce9" providerId="ADAL" clId="{AB127C1C-99B1-422D-9BD4-E48D71ECF507}" dt="2022-12-17T14:45:38.191" v="1238" actId="9405"/>
          <ac:inkMkLst>
            <pc:docMk/>
            <pc:sldMk cId="437159741" sldId="640"/>
            <ac:inkMk id="21" creationId="{9EF26F12-5B3A-F124-F039-16CEC0FA4996}"/>
          </ac:inkMkLst>
        </pc:inkChg>
        <pc:inkChg chg="add del">
          <ac:chgData name="Auradee Castro" userId="5b47d84d-e816-421d-a9bd-ea845bdedce9" providerId="ADAL" clId="{AB127C1C-99B1-422D-9BD4-E48D71ECF507}" dt="2022-12-17T14:45:54.822" v="1241"/>
          <ac:inkMkLst>
            <pc:docMk/>
            <pc:sldMk cId="437159741" sldId="640"/>
            <ac:inkMk id="22" creationId="{0E32F97B-51B0-04B8-8E59-353FC7A2C7D2}"/>
          </ac:inkMkLst>
        </pc:inkChg>
        <pc:inkChg chg="del">
          <ac:chgData name="Auradee Castro" userId="5b47d84d-e816-421d-a9bd-ea845bdedce9" providerId="ADAL" clId="{AB127C1C-99B1-422D-9BD4-E48D71ECF507}" dt="2022-12-17T14:45:15.148" v="1227"/>
          <ac:inkMkLst>
            <pc:docMk/>
            <pc:sldMk cId="437159741" sldId="640"/>
            <ac:inkMk id="23" creationId="{43F07DAF-BAE7-3F32-CAB6-4BF384C469AA}"/>
          </ac:inkMkLst>
        </pc:inkChg>
        <pc:inkChg chg="add del">
          <ac:chgData name="Auradee Castro" userId="5b47d84d-e816-421d-a9bd-ea845bdedce9" providerId="ADAL" clId="{AB127C1C-99B1-422D-9BD4-E48D71ECF507}" dt="2022-12-17T14:45:58.783" v="1244" actId="9405"/>
          <ac:inkMkLst>
            <pc:docMk/>
            <pc:sldMk cId="437159741" sldId="640"/>
            <ac:inkMk id="24" creationId="{24E114C9-0E44-EE36-7A74-761EF210D8A0}"/>
          </ac:inkMkLst>
        </pc:inkChg>
        <pc:inkChg chg="add">
          <ac:chgData name="Auradee Castro" userId="5b47d84d-e816-421d-a9bd-ea845bdedce9" providerId="ADAL" clId="{AB127C1C-99B1-422D-9BD4-E48D71ECF507}" dt="2022-12-17T14:46:01.527" v="1245" actId="9405"/>
          <ac:inkMkLst>
            <pc:docMk/>
            <pc:sldMk cId="437159741" sldId="640"/>
            <ac:inkMk id="25" creationId="{6F841989-F7DE-0DB5-0FBA-243D7E11352B}"/>
          </ac:inkMkLst>
        </pc:inkChg>
        <pc:inkChg chg="add">
          <ac:chgData name="Auradee Castro" userId="5b47d84d-e816-421d-a9bd-ea845bdedce9" providerId="ADAL" clId="{AB127C1C-99B1-422D-9BD4-E48D71ECF507}" dt="2022-12-17T14:46:03.995" v="1246" actId="9405"/>
          <ac:inkMkLst>
            <pc:docMk/>
            <pc:sldMk cId="437159741" sldId="640"/>
            <ac:inkMk id="26" creationId="{785ADCDF-9B70-9BF9-C6E9-1FB26A2DCBF3}"/>
          </ac:inkMkLst>
        </pc:inkChg>
        <pc:inkChg chg="del">
          <ac:chgData name="Auradee Castro" userId="5b47d84d-e816-421d-a9bd-ea845bdedce9" providerId="ADAL" clId="{AB127C1C-99B1-422D-9BD4-E48D71ECF507}" dt="2022-12-17T14:44:46.351" v="1218" actId="478"/>
          <ac:inkMkLst>
            <pc:docMk/>
            <pc:sldMk cId="437159741" sldId="640"/>
            <ac:inkMk id="27" creationId="{4E7D6F65-8073-CEB3-546F-74847D6BD40C}"/>
          </ac:inkMkLst>
        </pc:inkChg>
        <pc:inkChg chg="del">
          <ac:chgData name="Auradee Castro" userId="5b47d84d-e816-421d-a9bd-ea845bdedce9" providerId="ADAL" clId="{AB127C1C-99B1-422D-9BD4-E48D71ECF507}" dt="2022-12-17T14:45:24.778" v="1231"/>
          <ac:inkMkLst>
            <pc:docMk/>
            <pc:sldMk cId="437159741" sldId="640"/>
            <ac:inkMk id="28" creationId="{9FF725AD-FE35-EA06-0301-45E0F2D9DCDA}"/>
          </ac:inkMkLst>
        </pc:inkChg>
        <pc:inkChg chg="del">
          <ac:chgData name="Auradee Castro" userId="5b47d84d-e816-421d-a9bd-ea845bdedce9" providerId="ADAL" clId="{AB127C1C-99B1-422D-9BD4-E48D71ECF507}" dt="2022-12-17T14:45:25.356" v="1232"/>
          <ac:inkMkLst>
            <pc:docMk/>
            <pc:sldMk cId="437159741" sldId="640"/>
            <ac:inkMk id="29" creationId="{A3577D20-F3BF-39B8-1158-33A6593E3DF3}"/>
          </ac:inkMkLst>
        </pc:inkChg>
        <pc:inkChg chg="del">
          <ac:chgData name="Auradee Castro" userId="5b47d84d-e816-421d-a9bd-ea845bdedce9" providerId="ADAL" clId="{AB127C1C-99B1-422D-9BD4-E48D71ECF507}" dt="2022-12-17T14:45:54.388" v="1240"/>
          <ac:inkMkLst>
            <pc:docMk/>
            <pc:sldMk cId="437159741" sldId="640"/>
            <ac:inkMk id="31" creationId="{45EC83C7-99B3-44BC-71FF-67CF760CD576}"/>
          </ac:inkMkLst>
        </pc:inkChg>
        <pc:inkChg chg="del">
          <ac:chgData name="Auradee Castro" userId="5b47d84d-e816-421d-a9bd-ea845bdedce9" providerId="ADAL" clId="{AB127C1C-99B1-422D-9BD4-E48D71ECF507}" dt="2022-12-17T14:45:55.332" v="1242"/>
          <ac:inkMkLst>
            <pc:docMk/>
            <pc:sldMk cId="437159741" sldId="640"/>
            <ac:inkMk id="32" creationId="{ACA8E372-EC12-ECEB-09E8-7B6DFE5C171B}"/>
          </ac:inkMkLst>
        </pc:inkChg>
      </pc:sldChg>
      <pc:sldChg chg="modSp mod">
        <pc:chgData name="Auradee Castro" userId="5b47d84d-e816-421d-a9bd-ea845bdedce9" providerId="ADAL" clId="{AB127C1C-99B1-422D-9BD4-E48D71ECF507}" dt="2022-12-11T04:59:36.229" v="171" actId="20577"/>
        <pc:sldMkLst>
          <pc:docMk/>
          <pc:sldMk cId="3418524248" sldId="641"/>
        </pc:sldMkLst>
        <pc:spChg chg="mod">
          <ac:chgData name="Auradee Castro" userId="5b47d84d-e816-421d-a9bd-ea845bdedce9" providerId="ADAL" clId="{AB127C1C-99B1-422D-9BD4-E48D71ECF507}" dt="2022-12-11T04:59:36.229" v="171" actId="20577"/>
          <ac:spMkLst>
            <pc:docMk/>
            <pc:sldMk cId="3418524248" sldId="641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1T05:01:41.378" v="300" actId="20577"/>
        <pc:sldMkLst>
          <pc:docMk/>
          <pc:sldMk cId="3968434823" sldId="642"/>
        </pc:sldMkLst>
        <pc:spChg chg="mod">
          <ac:chgData name="Auradee Castro" userId="5b47d84d-e816-421d-a9bd-ea845bdedce9" providerId="ADAL" clId="{AB127C1C-99B1-422D-9BD4-E48D71ECF507}" dt="2022-12-11T05:01:41.378" v="300" actId="20577"/>
          <ac:spMkLst>
            <pc:docMk/>
            <pc:sldMk cId="3968434823" sldId="642"/>
            <ac:spMk id="3" creationId="{00000000-0000-0000-0000-000000000000}"/>
          </ac:spMkLst>
        </pc:spChg>
      </pc:sldChg>
      <pc:sldChg chg="modSp mod">
        <pc:chgData name="Auradee Castro" userId="5b47d84d-e816-421d-a9bd-ea845bdedce9" providerId="ADAL" clId="{AB127C1C-99B1-422D-9BD4-E48D71ECF507}" dt="2022-12-17T15:44:10.874" v="2257" actId="255"/>
        <pc:sldMkLst>
          <pc:docMk/>
          <pc:sldMk cId="3469220984" sldId="643"/>
        </pc:sldMkLst>
        <pc:spChg chg="mod">
          <ac:chgData name="Auradee Castro" userId="5b47d84d-e816-421d-a9bd-ea845bdedce9" providerId="ADAL" clId="{AB127C1C-99B1-422D-9BD4-E48D71ECF507}" dt="2022-12-11T04:57:53.530" v="72" actId="20577"/>
          <ac:spMkLst>
            <pc:docMk/>
            <pc:sldMk cId="3469220984" sldId="643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44:07.193" v="2256" actId="255"/>
          <ac:spMkLst>
            <pc:docMk/>
            <pc:sldMk cId="3469220984" sldId="643"/>
            <ac:spMk id="8" creationId="{088D8D01-AB88-F824-53BF-6B3F74BDE2F1}"/>
          </ac:spMkLst>
        </pc:spChg>
        <pc:spChg chg="mod">
          <ac:chgData name="Auradee Castro" userId="5b47d84d-e816-421d-a9bd-ea845bdedce9" providerId="ADAL" clId="{AB127C1C-99B1-422D-9BD4-E48D71ECF507}" dt="2022-12-17T15:44:10.874" v="2257" actId="255"/>
          <ac:spMkLst>
            <pc:docMk/>
            <pc:sldMk cId="3469220984" sldId="643"/>
            <ac:spMk id="9" creationId="{C73FC86F-FF9A-2F48-EE23-7DB1283A3A8F}"/>
          </ac:spMkLst>
        </pc:spChg>
      </pc:sldChg>
      <pc:sldChg chg="modSp mod">
        <pc:chgData name="Auradee Castro" userId="5b47d84d-e816-421d-a9bd-ea845bdedce9" providerId="ADAL" clId="{AB127C1C-99B1-422D-9BD4-E48D71ECF507}" dt="2022-12-17T15:44:22.730" v="2281" actId="1035"/>
        <pc:sldMkLst>
          <pc:docMk/>
          <pc:sldMk cId="1600013146" sldId="644"/>
        </pc:sldMkLst>
        <pc:spChg chg="mod">
          <ac:chgData name="Auradee Castro" userId="5b47d84d-e816-421d-a9bd-ea845bdedce9" providerId="ADAL" clId="{AB127C1C-99B1-422D-9BD4-E48D71ECF507}" dt="2022-12-11T04:57:57.602" v="78" actId="20577"/>
          <ac:spMkLst>
            <pc:docMk/>
            <pc:sldMk cId="1600013146" sldId="644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44:14.606" v="2258" actId="255"/>
          <ac:spMkLst>
            <pc:docMk/>
            <pc:sldMk cId="1600013146" sldId="644"/>
            <ac:spMk id="8" creationId="{088D8D01-AB88-F824-53BF-6B3F74BDE2F1}"/>
          </ac:spMkLst>
        </pc:spChg>
        <pc:spChg chg="mod">
          <ac:chgData name="Auradee Castro" userId="5b47d84d-e816-421d-a9bd-ea845bdedce9" providerId="ADAL" clId="{AB127C1C-99B1-422D-9BD4-E48D71ECF507}" dt="2022-12-17T15:44:18.151" v="2259" actId="255"/>
          <ac:spMkLst>
            <pc:docMk/>
            <pc:sldMk cId="1600013146" sldId="644"/>
            <ac:spMk id="9" creationId="{C73FC86F-FF9A-2F48-EE23-7DB1283A3A8F}"/>
          </ac:spMkLst>
        </pc:spChg>
        <pc:picChg chg="mod">
          <ac:chgData name="Auradee Castro" userId="5b47d84d-e816-421d-a9bd-ea845bdedce9" providerId="ADAL" clId="{AB127C1C-99B1-422D-9BD4-E48D71ECF507}" dt="2022-12-17T15:44:22.730" v="2281" actId="1035"/>
          <ac:picMkLst>
            <pc:docMk/>
            <pc:sldMk cId="1600013146" sldId="644"/>
            <ac:picMk id="6" creationId="{BB37AC4E-564B-3453-5A2B-CD15008B3334}"/>
          </ac:picMkLst>
        </pc:picChg>
        <pc:picChg chg="mod">
          <ac:chgData name="Auradee Castro" userId="5b47d84d-e816-421d-a9bd-ea845bdedce9" providerId="ADAL" clId="{AB127C1C-99B1-422D-9BD4-E48D71ECF507}" dt="2022-12-17T15:44:22.730" v="2281" actId="1035"/>
          <ac:picMkLst>
            <pc:docMk/>
            <pc:sldMk cId="1600013146" sldId="644"/>
            <ac:picMk id="10" creationId="{5B7013BB-9E79-BBEF-8994-6206943022E1}"/>
          </ac:picMkLst>
        </pc:picChg>
      </pc:sldChg>
      <pc:sldChg chg="modSp mod">
        <pc:chgData name="Auradee Castro" userId="5b47d84d-e816-421d-a9bd-ea845bdedce9" providerId="ADAL" clId="{AB127C1C-99B1-422D-9BD4-E48D71ECF507}" dt="2022-12-17T15:39:44.470" v="2172" actId="1582"/>
        <pc:sldMkLst>
          <pc:docMk/>
          <pc:sldMk cId="4042425538" sldId="645"/>
        </pc:sldMkLst>
        <pc:spChg chg="mod">
          <ac:chgData name="Auradee Castro" userId="5b47d84d-e816-421d-a9bd-ea845bdedce9" providerId="ADAL" clId="{AB127C1C-99B1-422D-9BD4-E48D71ECF507}" dt="2022-12-11T04:57:39.042" v="53" actId="20577"/>
          <ac:spMkLst>
            <pc:docMk/>
            <pc:sldMk cId="4042425538" sldId="645"/>
            <ac:spMk id="2" creationId="{824EFEDE-78B0-516C-223F-B13CD87CEE5A}"/>
          </ac:spMkLst>
        </pc:spChg>
        <pc:picChg chg="mod">
          <ac:chgData name="Auradee Castro" userId="5b47d84d-e816-421d-a9bd-ea845bdedce9" providerId="ADAL" clId="{AB127C1C-99B1-422D-9BD4-E48D71ECF507}" dt="2022-12-17T15:39:44.470" v="2172" actId="1582"/>
          <ac:picMkLst>
            <pc:docMk/>
            <pc:sldMk cId="4042425538" sldId="645"/>
            <ac:picMk id="4" creationId="{4CBD5850-A0F4-E2A6-F7DE-4E920C2256E2}"/>
          </ac:picMkLst>
        </pc:picChg>
      </pc:sldChg>
      <pc:sldChg chg="modSp mod">
        <pc:chgData name="Auradee Castro" userId="5b47d84d-e816-421d-a9bd-ea845bdedce9" providerId="ADAL" clId="{AB127C1C-99B1-422D-9BD4-E48D71ECF507}" dt="2022-12-17T15:39:59.868" v="2173" actId="1582"/>
        <pc:sldMkLst>
          <pc:docMk/>
          <pc:sldMk cId="2577362048" sldId="646"/>
        </pc:sldMkLst>
        <pc:spChg chg="mod">
          <ac:chgData name="Auradee Castro" userId="5b47d84d-e816-421d-a9bd-ea845bdedce9" providerId="ADAL" clId="{AB127C1C-99B1-422D-9BD4-E48D71ECF507}" dt="2022-12-11T04:59:40.433" v="177" actId="20577"/>
          <ac:spMkLst>
            <pc:docMk/>
            <pc:sldMk cId="2577362048" sldId="646"/>
            <ac:spMk id="2" creationId="{7588B65B-9459-1C21-2AA5-6A8CC6B39E0D}"/>
          </ac:spMkLst>
        </pc:spChg>
        <pc:picChg chg="mod">
          <ac:chgData name="Auradee Castro" userId="5b47d84d-e816-421d-a9bd-ea845bdedce9" providerId="ADAL" clId="{AB127C1C-99B1-422D-9BD4-E48D71ECF507}" dt="2022-12-17T15:39:59.868" v="2173" actId="1582"/>
          <ac:picMkLst>
            <pc:docMk/>
            <pc:sldMk cId="2577362048" sldId="646"/>
            <ac:picMk id="4" creationId="{6EF1B7CC-F88B-A14D-05DB-77A520E149EE}"/>
          </ac:picMkLst>
        </pc:picChg>
      </pc:sldChg>
      <pc:sldChg chg="modSp mod">
        <pc:chgData name="Auradee Castro" userId="5b47d84d-e816-421d-a9bd-ea845bdedce9" providerId="ADAL" clId="{AB127C1C-99B1-422D-9BD4-E48D71ECF507}" dt="2022-12-17T16:04:45.024" v="2592"/>
        <pc:sldMkLst>
          <pc:docMk/>
          <pc:sldMk cId="121756841" sldId="647"/>
        </pc:sldMkLst>
        <pc:spChg chg="mod">
          <ac:chgData name="Auradee Castro" userId="5b47d84d-e816-421d-a9bd-ea845bdedce9" providerId="ADAL" clId="{AB127C1C-99B1-422D-9BD4-E48D71ECF507}" dt="2022-12-17T16:04:45.024" v="2592"/>
          <ac:spMkLst>
            <pc:docMk/>
            <pc:sldMk cId="121756841" sldId="647"/>
            <ac:spMk id="3" creationId="{00000000-0000-0000-0000-000000000000}"/>
          </ac:spMkLst>
        </pc:spChg>
        <pc:picChg chg="mod">
          <ac:chgData name="Auradee Castro" userId="5b47d84d-e816-421d-a9bd-ea845bdedce9" providerId="ADAL" clId="{AB127C1C-99B1-422D-9BD4-E48D71ECF507}" dt="2022-12-17T15:40:17.346" v="2174" actId="1582"/>
          <ac:picMkLst>
            <pc:docMk/>
            <pc:sldMk cId="121756841" sldId="647"/>
            <ac:picMk id="6" creationId="{5977A4CE-405B-48F9-7D49-396DACEE1428}"/>
          </ac:picMkLst>
        </pc:picChg>
      </pc:sldChg>
      <pc:sldChg chg="modSp mod">
        <pc:chgData name="Auradee Castro" userId="5b47d84d-e816-421d-a9bd-ea845bdedce9" providerId="ADAL" clId="{AB127C1C-99B1-422D-9BD4-E48D71ECF507}" dt="2022-12-17T15:40:24.270" v="2175" actId="1582"/>
        <pc:sldMkLst>
          <pc:docMk/>
          <pc:sldMk cId="2276857302" sldId="648"/>
        </pc:sldMkLst>
        <pc:spChg chg="mod">
          <ac:chgData name="Auradee Castro" userId="5b47d84d-e816-421d-a9bd-ea845bdedce9" providerId="ADAL" clId="{AB127C1C-99B1-422D-9BD4-E48D71ECF507}" dt="2022-12-11T05:01:47.763" v="308" actId="20577"/>
          <ac:spMkLst>
            <pc:docMk/>
            <pc:sldMk cId="2276857302" sldId="648"/>
            <ac:spMk id="2" creationId="{CF0F2D5B-7276-FDFC-4E6E-2B60B9FA531E}"/>
          </ac:spMkLst>
        </pc:spChg>
        <pc:picChg chg="mod">
          <ac:chgData name="Auradee Castro" userId="5b47d84d-e816-421d-a9bd-ea845bdedce9" providerId="ADAL" clId="{AB127C1C-99B1-422D-9BD4-E48D71ECF507}" dt="2022-12-17T15:40:24.270" v="2175" actId="1582"/>
          <ac:picMkLst>
            <pc:docMk/>
            <pc:sldMk cId="2276857302" sldId="648"/>
            <ac:picMk id="4" creationId="{19F28877-A999-D452-56D0-B076AC1F494E}"/>
          </ac:picMkLst>
        </pc:picChg>
      </pc:sldChg>
      <pc:sldChg chg="addSp delSp modSp new mod ord">
        <pc:chgData name="Auradee Castro" userId="5b47d84d-e816-421d-a9bd-ea845bdedce9" providerId="ADAL" clId="{AB127C1C-99B1-422D-9BD4-E48D71ECF507}" dt="2022-12-17T16:07:36.291" v="2601" actId="1076"/>
        <pc:sldMkLst>
          <pc:docMk/>
          <pc:sldMk cId="4019122537" sldId="649"/>
        </pc:sldMkLst>
        <pc:spChg chg="mod">
          <ac:chgData name="Auradee Castro" userId="5b47d84d-e816-421d-a9bd-ea845bdedce9" providerId="ADAL" clId="{AB127C1C-99B1-422D-9BD4-E48D71ECF507}" dt="2022-12-17T16:03:31.651" v="2579" actId="20577"/>
          <ac:spMkLst>
            <pc:docMk/>
            <pc:sldMk cId="4019122537" sldId="649"/>
            <ac:spMk id="2" creationId="{5827D400-45D5-88E1-E3D0-A6AFDEA33597}"/>
          </ac:spMkLst>
        </pc:spChg>
        <pc:spChg chg="add mod">
          <ac:chgData name="Auradee Castro" userId="5b47d84d-e816-421d-a9bd-ea845bdedce9" providerId="ADAL" clId="{AB127C1C-99B1-422D-9BD4-E48D71ECF507}" dt="2022-12-17T14:28:54.574" v="952" actId="20577"/>
          <ac:spMkLst>
            <pc:docMk/>
            <pc:sldMk cId="4019122537" sldId="649"/>
            <ac:spMk id="3" creationId="{753B9641-6A5F-0BBE-B9ED-0FAC227FDFDF}"/>
          </ac:spMkLst>
        </pc:spChg>
        <pc:spChg chg="add del mod">
          <ac:chgData name="Auradee Castro" userId="5b47d84d-e816-421d-a9bd-ea845bdedce9" providerId="ADAL" clId="{AB127C1C-99B1-422D-9BD4-E48D71ECF507}" dt="2022-12-11T05:03:34.589" v="359"/>
          <ac:spMkLst>
            <pc:docMk/>
            <pc:sldMk cId="4019122537" sldId="649"/>
            <ac:spMk id="4" creationId="{D1556CAD-9060-B454-525F-1B3878044976}"/>
          </ac:spMkLst>
        </pc:spChg>
        <pc:picChg chg="add mod modCrop">
          <ac:chgData name="Auradee Castro" userId="5b47d84d-e816-421d-a9bd-ea845bdedce9" providerId="ADAL" clId="{AB127C1C-99B1-422D-9BD4-E48D71ECF507}" dt="2022-12-17T14:29:06.911" v="964" actId="1036"/>
          <ac:picMkLst>
            <pc:docMk/>
            <pc:sldMk cId="4019122537" sldId="649"/>
            <ac:picMk id="5" creationId="{D026CCAC-524F-2439-C6E1-4A8CE1457D2D}"/>
          </ac:picMkLst>
        </pc:picChg>
        <pc:picChg chg="add mod">
          <ac:chgData name="Auradee Castro" userId="5b47d84d-e816-421d-a9bd-ea845bdedce9" providerId="ADAL" clId="{AB127C1C-99B1-422D-9BD4-E48D71ECF507}" dt="2022-12-17T15:48:57.530" v="2294" actId="14100"/>
          <ac:picMkLst>
            <pc:docMk/>
            <pc:sldMk cId="4019122537" sldId="649"/>
            <ac:picMk id="6" creationId="{55A31A69-8BC2-23BE-93A4-ECC250C9DC94}"/>
          </ac:picMkLst>
        </pc:picChg>
        <pc:picChg chg="add mod">
          <ac:chgData name="Auradee Castro" userId="5b47d84d-e816-421d-a9bd-ea845bdedce9" providerId="ADAL" clId="{AB127C1C-99B1-422D-9BD4-E48D71ECF507}" dt="2022-12-17T16:07:36.291" v="2601" actId="1076"/>
          <ac:picMkLst>
            <pc:docMk/>
            <pc:sldMk cId="4019122537" sldId="649"/>
            <ac:picMk id="12" creationId="{ACAFC568-3532-957B-10DB-47B2F9709511}"/>
          </ac:picMkLst>
        </pc:picChg>
        <pc:cxnChg chg="add mod">
          <ac:chgData name="Auradee Castro" userId="5b47d84d-e816-421d-a9bd-ea845bdedce9" providerId="ADAL" clId="{AB127C1C-99B1-422D-9BD4-E48D71ECF507}" dt="2022-12-17T15:49:27.981" v="2300" actId="14100"/>
          <ac:cxnSpMkLst>
            <pc:docMk/>
            <pc:sldMk cId="4019122537" sldId="649"/>
            <ac:cxnSpMk id="8" creationId="{C48273A3-99A1-FCF6-2197-C2A1FA97A738}"/>
          </ac:cxnSpMkLst>
        </pc:cxnChg>
      </pc:sldChg>
      <pc:sldChg chg="addSp delSp modSp add mod ord">
        <pc:chgData name="Auradee Castro" userId="5b47d84d-e816-421d-a9bd-ea845bdedce9" providerId="ADAL" clId="{AB127C1C-99B1-422D-9BD4-E48D71ECF507}" dt="2022-12-17T16:04:55.439" v="2596"/>
        <pc:sldMkLst>
          <pc:docMk/>
          <pc:sldMk cId="1788409786" sldId="650"/>
        </pc:sldMkLst>
        <pc:spChg chg="mod">
          <ac:chgData name="Auradee Castro" userId="5b47d84d-e816-421d-a9bd-ea845bdedce9" providerId="ADAL" clId="{AB127C1C-99B1-422D-9BD4-E48D71ECF507}" dt="2022-12-17T16:04:55.439" v="2596"/>
          <ac:spMkLst>
            <pc:docMk/>
            <pc:sldMk cId="1788409786" sldId="650"/>
            <ac:spMk id="3" creationId="{00000000-0000-0000-0000-000000000000}"/>
          </ac:spMkLst>
        </pc:spChg>
        <pc:spChg chg="del mod">
          <ac:chgData name="Auradee Castro" userId="5b47d84d-e816-421d-a9bd-ea845bdedce9" providerId="ADAL" clId="{AB127C1C-99B1-422D-9BD4-E48D71ECF507}" dt="2022-12-17T15:17:28.949" v="1909" actId="478"/>
          <ac:spMkLst>
            <pc:docMk/>
            <pc:sldMk cId="1788409786" sldId="650"/>
            <ac:spMk id="5" creationId="{41C4773C-85B6-6E6D-5077-98A780146AB9}"/>
          </ac:spMkLst>
        </pc:spChg>
        <pc:spChg chg="add mod">
          <ac:chgData name="Auradee Castro" userId="5b47d84d-e816-421d-a9bd-ea845bdedce9" providerId="ADAL" clId="{AB127C1C-99B1-422D-9BD4-E48D71ECF507}" dt="2022-12-17T15:36:44.696" v="2146" actId="313"/>
          <ac:spMkLst>
            <pc:docMk/>
            <pc:sldMk cId="1788409786" sldId="650"/>
            <ac:spMk id="14" creationId="{13457AA5-D83F-C98D-823C-62A7869F8EAE}"/>
          </ac:spMkLst>
        </pc:spChg>
        <pc:picChg chg="add del mod">
          <ac:chgData name="Auradee Castro" userId="5b47d84d-e816-421d-a9bd-ea845bdedce9" providerId="ADAL" clId="{AB127C1C-99B1-422D-9BD4-E48D71ECF507}" dt="2022-12-17T15:17:27.300" v="1908" actId="478"/>
          <ac:picMkLst>
            <pc:docMk/>
            <pc:sldMk cId="1788409786" sldId="650"/>
            <ac:picMk id="6" creationId="{E18826EB-8980-1602-D097-0F4324D3895F}"/>
          </ac:picMkLst>
        </pc:picChg>
        <pc:picChg chg="del">
          <ac:chgData name="Auradee Castro" userId="5b47d84d-e816-421d-a9bd-ea845bdedce9" providerId="ADAL" clId="{AB127C1C-99B1-422D-9BD4-E48D71ECF507}" dt="2022-12-17T15:08:21.994" v="1591" actId="478"/>
          <ac:picMkLst>
            <pc:docMk/>
            <pc:sldMk cId="1788409786" sldId="650"/>
            <ac:picMk id="7" creationId="{423A8292-3CE0-C623-AA40-5B5E3D0C7407}"/>
          </ac:picMkLst>
        </pc:picChg>
        <pc:picChg chg="add del mod">
          <ac:chgData name="Auradee Castro" userId="5b47d84d-e816-421d-a9bd-ea845bdedce9" providerId="ADAL" clId="{AB127C1C-99B1-422D-9BD4-E48D71ECF507}" dt="2022-12-17T15:17:11.173" v="1898" actId="21"/>
          <ac:picMkLst>
            <pc:docMk/>
            <pc:sldMk cId="1788409786" sldId="650"/>
            <ac:picMk id="9" creationId="{2E9A5327-167F-1E31-A9D7-F1F8DAD5D921}"/>
          </ac:picMkLst>
        </pc:picChg>
        <pc:picChg chg="add mod">
          <ac:chgData name="Auradee Castro" userId="5b47d84d-e816-421d-a9bd-ea845bdedce9" providerId="ADAL" clId="{AB127C1C-99B1-422D-9BD4-E48D71ECF507}" dt="2022-12-17T15:37:04.178" v="2151" actId="14100"/>
          <ac:picMkLst>
            <pc:docMk/>
            <pc:sldMk cId="1788409786" sldId="650"/>
            <ac:picMk id="10" creationId="{33B6EF4B-80F4-0AAD-6387-5F7F39172EEC}"/>
          </ac:picMkLst>
        </pc:picChg>
        <pc:picChg chg="add mod">
          <ac:chgData name="Auradee Castro" userId="5b47d84d-e816-421d-a9bd-ea845bdedce9" providerId="ADAL" clId="{AB127C1C-99B1-422D-9BD4-E48D71ECF507}" dt="2022-12-17T15:36:59.384" v="2150" actId="14100"/>
          <ac:picMkLst>
            <pc:docMk/>
            <pc:sldMk cId="1788409786" sldId="650"/>
            <ac:picMk id="12" creationId="{677CCD90-AA72-597F-EE45-0BEA94E0229B}"/>
          </ac:picMkLst>
        </pc:picChg>
      </pc:sldChg>
      <pc:sldChg chg="delSp modSp add del mod">
        <pc:chgData name="Auradee Castro" userId="5b47d84d-e816-421d-a9bd-ea845bdedce9" providerId="ADAL" clId="{AB127C1C-99B1-422D-9BD4-E48D71ECF507}" dt="2022-12-17T14:44:14.641" v="1217" actId="2696"/>
        <pc:sldMkLst>
          <pc:docMk/>
          <pc:sldMk cId="4174960225" sldId="650"/>
        </pc:sldMkLst>
        <pc:spChg chg="mod">
          <ac:chgData name="Auradee Castro" userId="5b47d84d-e816-421d-a9bd-ea845bdedce9" providerId="ADAL" clId="{AB127C1C-99B1-422D-9BD4-E48D71ECF507}" dt="2022-12-17T14:43:49.616" v="1216" actId="20577"/>
          <ac:spMkLst>
            <pc:docMk/>
            <pc:sldMk cId="4174960225" sldId="650"/>
            <ac:spMk id="5" creationId="{41C4773C-85B6-6E6D-5077-98A780146AB9}"/>
          </ac:spMkLst>
        </pc:spChg>
        <pc:spChg chg="del">
          <ac:chgData name="Auradee Castro" userId="5b47d84d-e816-421d-a9bd-ea845bdedce9" providerId="ADAL" clId="{AB127C1C-99B1-422D-9BD4-E48D71ECF507}" dt="2022-12-17T14:42:38.680" v="1155" actId="478"/>
          <ac:spMkLst>
            <pc:docMk/>
            <pc:sldMk cId="4174960225" sldId="650"/>
            <ac:spMk id="13" creationId="{C73A9556-7E91-0ACF-5083-DC46BAD66DAA}"/>
          </ac:spMkLst>
        </pc:spChg>
        <pc:spChg chg="del">
          <ac:chgData name="Auradee Castro" userId="5b47d84d-e816-421d-a9bd-ea845bdedce9" providerId="ADAL" clId="{AB127C1C-99B1-422D-9BD4-E48D71ECF507}" dt="2022-12-17T14:42:36.165" v="1151" actId="478"/>
          <ac:spMkLst>
            <pc:docMk/>
            <pc:sldMk cId="4174960225" sldId="650"/>
            <ac:spMk id="14" creationId="{2818F023-1A7E-9F5C-814E-AFE0DC110746}"/>
          </ac:spMkLst>
        </pc:spChg>
        <pc:spChg chg="del">
          <ac:chgData name="Auradee Castro" userId="5b47d84d-e816-421d-a9bd-ea845bdedce9" providerId="ADAL" clId="{AB127C1C-99B1-422D-9BD4-E48D71ECF507}" dt="2022-12-17T14:42:41.756" v="1160" actId="478"/>
          <ac:spMkLst>
            <pc:docMk/>
            <pc:sldMk cId="4174960225" sldId="650"/>
            <ac:spMk id="16" creationId="{1887165D-2814-F434-8C71-2350B3AECEC8}"/>
          </ac:spMkLst>
        </pc:spChg>
        <pc:picChg chg="del">
          <ac:chgData name="Auradee Castro" userId="5b47d84d-e816-421d-a9bd-ea845bdedce9" providerId="ADAL" clId="{AB127C1C-99B1-422D-9BD4-E48D71ECF507}" dt="2022-12-17T14:42:34.304" v="1148" actId="478"/>
          <ac:picMkLst>
            <pc:docMk/>
            <pc:sldMk cId="4174960225" sldId="650"/>
            <ac:picMk id="6" creationId="{A509CC45-64AC-09C0-AAF6-97D397A43EAE}"/>
          </ac:picMkLst>
        </pc:picChg>
        <pc:picChg chg="del">
          <ac:chgData name="Auradee Castro" userId="5b47d84d-e816-421d-a9bd-ea845bdedce9" providerId="ADAL" clId="{AB127C1C-99B1-422D-9BD4-E48D71ECF507}" dt="2022-12-17T14:42:35.438" v="1150" actId="478"/>
          <ac:picMkLst>
            <pc:docMk/>
            <pc:sldMk cId="4174960225" sldId="650"/>
            <ac:picMk id="10" creationId="{3D4E47E7-C48A-E89C-35BF-13474C9CF224}"/>
          </ac:picMkLst>
        </pc:picChg>
        <pc:picChg chg="del">
          <ac:chgData name="Auradee Castro" userId="5b47d84d-e816-421d-a9bd-ea845bdedce9" providerId="ADAL" clId="{AB127C1C-99B1-422D-9BD4-E48D71ECF507}" dt="2022-12-17T14:42:34.738" v="1149" actId="478"/>
          <ac:picMkLst>
            <pc:docMk/>
            <pc:sldMk cId="4174960225" sldId="650"/>
            <ac:picMk id="12" creationId="{DCC628FB-E128-E2E7-DC0D-138124D5B74C}"/>
          </ac:picMkLst>
        </pc:picChg>
        <pc:inkChg chg="del">
          <ac:chgData name="Auradee Castro" userId="5b47d84d-e816-421d-a9bd-ea845bdedce9" providerId="ADAL" clId="{AB127C1C-99B1-422D-9BD4-E48D71ECF507}" dt="2022-12-17T14:42:39.775" v="1157" actId="478"/>
          <ac:inkMkLst>
            <pc:docMk/>
            <pc:sldMk cId="4174960225" sldId="650"/>
            <ac:inkMk id="20" creationId="{029C0DC9-AB05-777C-6028-8941B3C27843}"/>
          </ac:inkMkLst>
        </pc:inkChg>
        <pc:inkChg chg="del">
          <ac:chgData name="Auradee Castro" userId="5b47d84d-e816-421d-a9bd-ea845bdedce9" providerId="ADAL" clId="{AB127C1C-99B1-422D-9BD4-E48D71ECF507}" dt="2022-12-17T14:42:37.965" v="1154" actId="478"/>
          <ac:inkMkLst>
            <pc:docMk/>
            <pc:sldMk cId="4174960225" sldId="650"/>
            <ac:inkMk id="23" creationId="{43F07DAF-BAE7-3F32-CAB6-4BF384C469AA}"/>
          </ac:inkMkLst>
        </pc:inkChg>
        <pc:inkChg chg="del">
          <ac:chgData name="Auradee Castro" userId="5b47d84d-e816-421d-a9bd-ea845bdedce9" providerId="ADAL" clId="{AB127C1C-99B1-422D-9BD4-E48D71ECF507}" dt="2022-12-17T14:42:39.163" v="1156" actId="478"/>
          <ac:inkMkLst>
            <pc:docMk/>
            <pc:sldMk cId="4174960225" sldId="650"/>
            <ac:inkMk id="27" creationId="{4E7D6F65-8073-CEB3-546F-74847D6BD40C}"/>
          </ac:inkMkLst>
        </pc:inkChg>
        <pc:inkChg chg="del">
          <ac:chgData name="Auradee Castro" userId="5b47d84d-e816-421d-a9bd-ea845bdedce9" providerId="ADAL" clId="{AB127C1C-99B1-422D-9BD4-E48D71ECF507}" dt="2022-12-17T14:42:36.634" v="1152" actId="478"/>
          <ac:inkMkLst>
            <pc:docMk/>
            <pc:sldMk cId="4174960225" sldId="650"/>
            <ac:inkMk id="28" creationId="{9FF725AD-FE35-EA06-0301-45E0F2D9DCDA}"/>
          </ac:inkMkLst>
        </pc:inkChg>
        <pc:inkChg chg="del">
          <ac:chgData name="Auradee Castro" userId="5b47d84d-e816-421d-a9bd-ea845bdedce9" providerId="ADAL" clId="{AB127C1C-99B1-422D-9BD4-E48D71ECF507}" dt="2022-12-17T14:42:37.172" v="1153" actId="478"/>
          <ac:inkMkLst>
            <pc:docMk/>
            <pc:sldMk cId="4174960225" sldId="650"/>
            <ac:inkMk id="29" creationId="{A3577D20-F3BF-39B8-1158-33A6593E3DF3}"/>
          </ac:inkMkLst>
        </pc:inkChg>
        <pc:inkChg chg="del">
          <ac:chgData name="Auradee Castro" userId="5b47d84d-e816-421d-a9bd-ea845bdedce9" providerId="ADAL" clId="{AB127C1C-99B1-422D-9BD4-E48D71ECF507}" dt="2022-12-17T14:42:40.409" v="1158" actId="478"/>
          <ac:inkMkLst>
            <pc:docMk/>
            <pc:sldMk cId="4174960225" sldId="650"/>
            <ac:inkMk id="31" creationId="{45EC83C7-99B3-44BC-71FF-67CF760CD576}"/>
          </ac:inkMkLst>
        </pc:inkChg>
        <pc:inkChg chg="del">
          <ac:chgData name="Auradee Castro" userId="5b47d84d-e816-421d-a9bd-ea845bdedce9" providerId="ADAL" clId="{AB127C1C-99B1-422D-9BD4-E48D71ECF507}" dt="2022-12-17T14:42:40.975" v="1159" actId="478"/>
          <ac:inkMkLst>
            <pc:docMk/>
            <pc:sldMk cId="4174960225" sldId="650"/>
            <ac:inkMk id="32" creationId="{ACA8E372-EC12-ECEB-09E8-7B6DFE5C171B}"/>
          </ac:inkMkLst>
        </pc:inkChg>
      </pc:sldChg>
      <pc:sldChg chg="addSp delSp modSp add mod ord">
        <pc:chgData name="Auradee Castro" userId="5b47d84d-e816-421d-a9bd-ea845bdedce9" providerId="ADAL" clId="{AB127C1C-99B1-422D-9BD4-E48D71ECF507}" dt="2022-12-17T16:04:50.298" v="2594" actId="20577"/>
        <pc:sldMkLst>
          <pc:docMk/>
          <pc:sldMk cId="434813080" sldId="651"/>
        </pc:sldMkLst>
        <pc:spChg chg="mod">
          <ac:chgData name="Auradee Castro" userId="5b47d84d-e816-421d-a9bd-ea845bdedce9" providerId="ADAL" clId="{AB127C1C-99B1-422D-9BD4-E48D71ECF507}" dt="2022-12-17T16:04:50.298" v="2594" actId="20577"/>
          <ac:spMkLst>
            <pc:docMk/>
            <pc:sldMk cId="434813080" sldId="651"/>
            <ac:spMk id="3" creationId="{00000000-0000-0000-0000-000000000000}"/>
          </ac:spMkLst>
        </pc:spChg>
        <pc:spChg chg="add del mod">
          <ac:chgData name="Auradee Castro" userId="5b47d84d-e816-421d-a9bd-ea845bdedce9" providerId="ADAL" clId="{AB127C1C-99B1-422D-9BD4-E48D71ECF507}" dt="2022-12-17T15:21:19.978" v="1928" actId="478"/>
          <ac:spMkLst>
            <pc:docMk/>
            <pc:sldMk cId="434813080" sldId="651"/>
            <ac:spMk id="4" creationId="{CF5D899D-70A9-5B3D-B66D-31B80EA472E2}"/>
          </ac:spMkLst>
        </pc:spChg>
        <pc:spChg chg="mod">
          <ac:chgData name="Auradee Castro" userId="5b47d84d-e816-421d-a9bd-ea845bdedce9" providerId="ADAL" clId="{AB127C1C-99B1-422D-9BD4-E48D71ECF507}" dt="2022-12-17T15:25:12.097" v="2141" actId="20577"/>
          <ac:spMkLst>
            <pc:docMk/>
            <pc:sldMk cId="434813080" sldId="651"/>
            <ac:spMk id="5" creationId="{41C4773C-85B6-6E6D-5077-98A780146AB9}"/>
          </ac:spMkLst>
        </pc:spChg>
        <pc:picChg chg="mod">
          <ac:chgData name="Auradee Castro" userId="5b47d84d-e816-421d-a9bd-ea845bdedce9" providerId="ADAL" clId="{AB127C1C-99B1-422D-9BD4-E48D71ECF507}" dt="2022-12-17T15:21:15.765" v="1926" actId="1076"/>
          <ac:picMkLst>
            <pc:docMk/>
            <pc:sldMk cId="434813080" sldId="651"/>
            <ac:picMk id="6" creationId="{E18826EB-8980-1602-D097-0F4324D3895F}"/>
          </ac:picMkLst>
        </pc:picChg>
        <pc:inkChg chg="add del">
          <ac:chgData name="Auradee Castro" userId="5b47d84d-e816-421d-a9bd-ea845bdedce9" providerId="ADAL" clId="{AB127C1C-99B1-422D-9BD4-E48D71ECF507}" dt="2022-12-17T15:21:29.934" v="1930" actId="9405"/>
          <ac:inkMkLst>
            <pc:docMk/>
            <pc:sldMk cId="434813080" sldId="651"/>
            <ac:inkMk id="7" creationId="{02E4C1D4-B85C-8C6D-D6A4-DBB8903D4521}"/>
          </ac:inkMkLst>
        </pc:inkChg>
        <pc:inkChg chg="add">
          <ac:chgData name="Auradee Castro" userId="5b47d84d-e816-421d-a9bd-ea845bdedce9" providerId="ADAL" clId="{AB127C1C-99B1-422D-9BD4-E48D71ECF507}" dt="2022-12-17T15:21:32.209" v="1931" actId="9405"/>
          <ac:inkMkLst>
            <pc:docMk/>
            <pc:sldMk cId="434813080" sldId="651"/>
            <ac:inkMk id="8" creationId="{EEDB6330-F9D6-5D90-E214-B3A686DDDB56}"/>
          </ac:inkMkLst>
        </pc:inkChg>
        <pc:inkChg chg="add">
          <ac:chgData name="Auradee Castro" userId="5b47d84d-e816-421d-a9bd-ea845bdedce9" providerId="ADAL" clId="{AB127C1C-99B1-422D-9BD4-E48D71ECF507}" dt="2022-12-17T15:21:34.439" v="1932" actId="9405"/>
          <ac:inkMkLst>
            <pc:docMk/>
            <pc:sldMk cId="434813080" sldId="651"/>
            <ac:inkMk id="9" creationId="{140257C2-0EB7-1EC5-45BE-81F90D5CAFF2}"/>
          </ac:inkMkLst>
        </pc:inkChg>
        <pc:inkChg chg="add del">
          <ac:chgData name="Auradee Castro" userId="5b47d84d-e816-421d-a9bd-ea845bdedce9" providerId="ADAL" clId="{AB127C1C-99B1-422D-9BD4-E48D71ECF507}" dt="2022-12-17T15:21:44.101" v="1934" actId="9405"/>
          <ac:inkMkLst>
            <pc:docMk/>
            <pc:sldMk cId="434813080" sldId="651"/>
            <ac:inkMk id="10" creationId="{9E230598-3B92-DA20-F92F-FBB7C4DDE6F2}"/>
          </ac:inkMkLst>
        </pc:inkChg>
      </pc:sldChg>
      <pc:sldChg chg="addSp delSp modSp add mod">
        <pc:chgData name="Auradee Castro" userId="5b47d84d-e816-421d-a9bd-ea845bdedce9" providerId="ADAL" clId="{AB127C1C-99B1-422D-9BD4-E48D71ECF507}" dt="2022-12-17T16:04:58.919" v="2598"/>
        <pc:sldMkLst>
          <pc:docMk/>
          <pc:sldMk cId="1104170893" sldId="652"/>
        </pc:sldMkLst>
        <pc:spChg chg="mod">
          <ac:chgData name="Auradee Castro" userId="5b47d84d-e816-421d-a9bd-ea845bdedce9" providerId="ADAL" clId="{AB127C1C-99B1-422D-9BD4-E48D71ECF507}" dt="2022-12-17T16:04:58.919" v="2598"/>
          <ac:spMkLst>
            <pc:docMk/>
            <pc:sldMk cId="1104170893" sldId="652"/>
            <ac:spMk id="3" creationId="{00000000-0000-0000-0000-000000000000}"/>
          </ac:spMkLst>
        </pc:spChg>
        <pc:spChg chg="del">
          <ac:chgData name="Auradee Castro" userId="5b47d84d-e816-421d-a9bd-ea845bdedce9" providerId="ADAL" clId="{AB127C1C-99B1-422D-9BD4-E48D71ECF507}" dt="2022-12-17T15:37:21.419" v="2155" actId="478"/>
          <ac:spMkLst>
            <pc:docMk/>
            <pc:sldMk cId="1104170893" sldId="652"/>
            <ac:spMk id="14" creationId="{13457AA5-D83F-C98D-823C-62A7869F8EAE}"/>
          </ac:spMkLst>
        </pc:spChg>
        <pc:picChg chg="add mod">
          <ac:chgData name="Auradee Castro" userId="5b47d84d-e816-421d-a9bd-ea845bdedce9" providerId="ADAL" clId="{AB127C1C-99B1-422D-9BD4-E48D71ECF507}" dt="2022-12-17T15:40:47.929" v="2180" actId="1036"/>
          <ac:picMkLst>
            <pc:docMk/>
            <pc:sldMk cId="1104170893" sldId="652"/>
            <ac:picMk id="5" creationId="{9AA7D751-BD82-AF1D-AFB3-7904AEFEEDFC}"/>
          </ac:picMkLst>
        </pc:picChg>
        <pc:picChg chg="del">
          <ac:chgData name="Auradee Castro" userId="5b47d84d-e816-421d-a9bd-ea845bdedce9" providerId="ADAL" clId="{AB127C1C-99B1-422D-9BD4-E48D71ECF507}" dt="2022-12-17T15:37:19.446" v="2153" actId="478"/>
          <ac:picMkLst>
            <pc:docMk/>
            <pc:sldMk cId="1104170893" sldId="652"/>
            <ac:picMk id="10" creationId="{33B6EF4B-80F4-0AAD-6387-5F7F39172EEC}"/>
          </ac:picMkLst>
        </pc:picChg>
        <pc:picChg chg="del">
          <ac:chgData name="Auradee Castro" userId="5b47d84d-e816-421d-a9bd-ea845bdedce9" providerId="ADAL" clId="{AB127C1C-99B1-422D-9BD4-E48D71ECF507}" dt="2022-12-17T15:37:19.969" v="2154" actId="478"/>
          <ac:picMkLst>
            <pc:docMk/>
            <pc:sldMk cId="1104170893" sldId="652"/>
            <ac:picMk id="12" creationId="{677CCD90-AA72-597F-EE45-0BEA94E0229B}"/>
          </ac:picMkLst>
        </pc:picChg>
      </pc:sldChg>
      <pc:sldChg chg="addSp delSp modSp add mod">
        <pc:chgData name="Auradee Castro" userId="5b47d84d-e816-421d-a9bd-ea845bdedce9" providerId="ADAL" clId="{AB127C1C-99B1-422D-9BD4-E48D71ECF507}" dt="2022-12-17T18:34:29.908" v="2602" actId="1076"/>
        <pc:sldMkLst>
          <pc:docMk/>
          <pc:sldMk cId="2199507420" sldId="653"/>
        </pc:sldMkLst>
        <pc:spChg chg="mod">
          <ac:chgData name="Auradee Castro" userId="5b47d84d-e816-421d-a9bd-ea845bdedce9" providerId="ADAL" clId="{AB127C1C-99B1-422D-9BD4-E48D71ECF507}" dt="2022-12-17T16:03:38.137" v="2581"/>
          <ac:spMkLst>
            <pc:docMk/>
            <pc:sldMk cId="2199507420" sldId="653"/>
            <ac:spMk id="3" creationId="{00000000-0000-0000-0000-000000000000}"/>
          </ac:spMkLst>
        </pc:spChg>
        <pc:spChg chg="mod">
          <ac:chgData name="Auradee Castro" userId="5b47d84d-e816-421d-a9bd-ea845bdedce9" providerId="ADAL" clId="{AB127C1C-99B1-422D-9BD4-E48D71ECF507}" dt="2022-12-17T15:59:59.931" v="2560" actId="20577"/>
          <ac:spMkLst>
            <pc:docMk/>
            <pc:sldMk cId="2199507420" sldId="653"/>
            <ac:spMk id="6" creationId="{7D9DC680-720B-5BB2-84CE-E508339FC7B3}"/>
          </ac:spMkLst>
        </pc:spChg>
        <pc:picChg chg="del">
          <ac:chgData name="Auradee Castro" userId="5b47d84d-e816-421d-a9bd-ea845bdedce9" providerId="ADAL" clId="{AB127C1C-99B1-422D-9BD4-E48D71ECF507}" dt="2022-12-17T15:55:08.592" v="2377" actId="478"/>
          <ac:picMkLst>
            <pc:docMk/>
            <pc:sldMk cId="2199507420" sldId="653"/>
            <ac:picMk id="5" creationId="{35053360-4F22-1474-BD01-BCCF31FA7C3C}"/>
          </ac:picMkLst>
        </pc:picChg>
        <pc:picChg chg="del">
          <ac:chgData name="Auradee Castro" userId="5b47d84d-e816-421d-a9bd-ea845bdedce9" providerId="ADAL" clId="{AB127C1C-99B1-422D-9BD4-E48D71ECF507}" dt="2022-12-17T15:55:09.296" v="2378" actId="478"/>
          <ac:picMkLst>
            <pc:docMk/>
            <pc:sldMk cId="2199507420" sldId="653"/>
            <ac:picMk id="7" creationId="{C7A72412-C838-644C-F465-D77B6C5E73A7}"/>
          </ac:picMkLst>
        </pc:picChg>
        <pc:picChg chg="add mod">
          <ac:chgData name="Auradee Castro" userId="5b47d84d-e816-421d-a9bd-ea845bdedce9" providerId="ADAL" clId="{AB127C1C-99B1-422D-9BD4-E48D71ECF507}" dt="2022-12-17T18:34:29.908" v="2602" actId="1076"/>
          <ac:picMkLst>
            <pc:docMk/>
            <pc:sldMk cId="2199507420" sldId="653"/>
            <ac:picMk id="8" creationId="{8BF9F084-8BA1-F566-AAF5-2729C61A01D5}"/>
          </ac:picMkLst>
        </pc:picChg>
        <pc:picChg chg="add mod">
          <ac:chgData name="Auradee Castro" userId="5b47d84d-e816-421d-a9bd-ea845bdedce9" providerId="ADAL" clId="{AB127C1C-99B1-422D-9BD4-E48D71ECF507}" dt="2022-12-17T18:34:29.908" v="2602" actId="1076"/>
          <ac:picMkLst>
            <pc:docMk/>
            <pc:sldMk cId="2199507420" sldId="653"/>
            <ac:picMk id="10" creationId="{4C15D2CB-7D04-0C43-2C03-E7885318290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2591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2591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fld id="{8512D75A-4968-4B85-978D-6B81A9CAAE46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615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5:06.56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475'0,"-453"1,29 5,-30-3,32 1,1104-5,-1144 2,-1 0,19 5,-18-3,0-1,17 0,-18-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0T15:54:34.02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,'81'-2,"89"4,-83 12,-59-8,53 3,-56-7,47 10,-47-7,49 4,-41-8,-1 1,1 1,-1 2,56 16,70 21,-135-38,0-1,0-1,33-1,-32-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0T15:54:36.3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131'0,"-1086"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5:21:32.20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9'1,"0"0,1 1,-1 0,0 1,-1 0,1 0,0 1,10 6,-8-5,1 1,-1-1,23 5,25-2,-39-6,37 8,-18-2,0-3,0 0,1-3,61-4,-41 1,-33 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5:21:34.43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5,"5"2,2 4,5 1,6-1,4-4,5-1,-3 2,0 0,1-1,1-2,2-1,1-2,0-2,2 0,0 0,0 0,-6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5:20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51'7,"-3"0,212-7,-124-1,-122 2,0 1,20 4,2 1,-2-1,17 2,-39-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5:35.79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7,'42'12,"-14"-10,0-2,0-1,30-5,13-1,-39 5,62-5,-31 1,117 5,-87 2,3-2,105 3,-73 13,-81-10,-17-1,36 0,725-5,-779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5:38.1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,'51'-1,"-14"0,0 2,65 9,-71-6,-1-1,54-2,-55-2,1 1,-1 2,35 6,0 1,-1-2,1-3,82-6,-41 0,-25 2,-68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6:01.52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2,"1"-1,-1 1,1 0,0-1,0 0,-1 1,1-1,0 1,0-1,0 0,0 1,1-1,-1 0,0 0,0 0,1 0,-1 0,0 0,1-1,1 2,32 12,-11-11,0-2,-1 0,34-3,-2 1,-32-1,0 0,36-9,-35 6,-1 1,37-1,685 6,-654 6,-60-3,33 0,100 2,-5 1,-67 0,-62-3,33 0,69-5,-117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7T14:46:03.99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486'0,"-404"8,-55-5,29 1,-22-3,64 12,-65-7,1-2,34 0,59-4,-115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0T15:41:13.96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,'146'-2,"161"5,-201 10,29 1,-123-13,21-1,1 1,0 2,60 14,-60-9,-30-9,-21-7,0 3,1 0,-2 1,1 1,-19-1,-46-9,57 8,-1 0,0 2,-47 0,49 3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0T15:54:30.24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2096'0,"-2063"2,1 2,-2 1,46 12,-41-8,-1-1,49 3,-25-10,-39-2,0 1,1 2,39 7,-27-2,1-2,60 3,75-10,-61 0,333 2,-412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10T15:41:30.86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,'86'0,"34"-1,165 19,-177-8,183-7,-147-5,609 2,-729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3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9" y="4713361"/>
            <a:ext cx="4984107" cy="4468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3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fld id="{686D6E00-0F62-4B93-946A-D3C2B941BC77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92406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1" y="0"/>
            <a:ext cx="1511928" cy="6858000"/>
          </a:xfrm>
          <a:prstGeom prst="rect">
            <a:avLst/>
          </a:prstGeom>
          <a:solidFill>
            <a:srgbClr val="202C5C"/>
          </a:solidFill>
          <a:ln>
            <a:noFill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989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961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3" name="オブジェクト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5"/>
          <p:cNvSpPr>
            <a:spLocks noChangeShapeType="1"/>
          </p:cNvSpPr>
          <p:nvPr userDrawn="1"/>
        </p:nvSpPr>
        <p:spPr bwMode="gray">
          <a:xfrm>
            <a:off x="0" y="620713"/>
            <a:ext cx="9906000" cy="0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02C5C"/>
                </a:solidFill>
              </a:defRPr>
            </a:lvl1pPr>
          </a:lstStyle>
          <a:p>
            <a:r>
              <a:rPr kumimoji="1" lang="ja-JP" altLang="en-US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5181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4"/>
          <p:cNvSpPr>
            <a:spLocks noChangeArrowheads="1"/>
          </p:cNvSpPr>
          <p:nvPr userDrawn="1"/>
        </p:nvSpPr>
        <p:spPr bwMode="auto">
          <a:xfrm>
            <a:off x="0" y="6742112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  <p:sp>
        <p:nvSpPr>
          <p:cNvPr id="8" name="タイトル 1"/>
          <p:cNvSpPr>
            <a:spLocks noGrp="1"/>
          </p:cNvSpPr>
          <p:nvPr>
            <p:ph type="ctrTitle"/>
          </p:nvPr>
        </p:nvSpPr>
        <p:spPr>
          <a:xfrm>
            <a:off x="812799" y="3178914"/>
            <a:ext cx="8280400" cy="533411"/>
          </a:xfrm>
          <a:prstGeom prst="rect">
            <a:avLst/>
          </a:prstGeom>
        </p:spPr>
        <p:txBody>
          <a:bodyPr tIns="36000" anchor="t">
            <a:sp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812799" y="2547825"/>
            <a:ext cx="7235826" cy="405683"/>
          </a:xfrm>
        </p:spPr>
        <p:txBody>
          <a:bodyPr lIns="0" tIns="36000" rIns="0" bIns="0">
            <a:spAutoFit/>
          </a:bodyPr>
          <a:lstStyle>
            <a:lvl1pPr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9" name="角丸四角形 4">
            <a:extLst>
              <a:ext uri="{FF2B5EF4-FFF2-40B4-BE49-F238E27FC236}">
                <a16:creationId xmlns:a16="http://schemas.microsoft.com/office/drawing/2014/main" id="{2784892C-4B71-4235-89BD-DBFC7C4CBD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1338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178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07303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270" imgH="270" progId="TCLayout.ActiveDocument.1">
                  <p:embed/>
                </p:oleObj>
              </mc:Choice>
              <mc:Fallback>
                <p:oleObj name="think-cell スライド" r:id="rId7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</a:t>
            </a:r>
            <a:r>
              <a:rPr lang="ja-JP" altLang="en-US"/>
              <a:t>レベル</a:t>
            </a:r>
            <a:endParaRPr lang="en-US" altLang="ja-JP"/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4782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14" r:id="rId3"/>
    <p:sldLayoutId id="2147483704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kern="1200" noProof="0" dirty="0">
          <a:solidFill>
            <a:srgbClr val="202C5C"/>
          </a:solidFill>
          <a:latin typeface="+mj-lt"/>
          <a:ea typeface="+mj-ea"/>
          <a:cs typeface="Meiryo UI" panose="020B0604030504040204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ts val="6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1pPr>
      <a:lvl2pPr marL="450850" indent="-196850" algn="l" rtl="0" eaLnBrk="1" fontAlgn="base" hangingPunct="1">
        <a:spcBef>
          <a:spcPts val="600"/>
        </a:spcBef>
        <a:spcAft>
          <a:spcPct val="0"/>
        </a:spcAft>
        <a:buSzPct val="90000"/>
        <a:buFont typeface="Arial" panose="020B0604020202020204" pitchFamily="34" charset="0"/>
        <a:buChar char="●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2pPr>
      <a:lvl3pPr marL="846138" indent="-179388" algn="l" rtl="0" eaLnBrk="1" fontAlgn="base" hangingPunct="1">
        <a:spcBef>
          <a:spcPts val="600"/>
        </a:spcBef>
        <a:spcAft>
          <a:spcPct val="0"/>
        </a:spcAft>
        <a:buSzPct val="9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3pPr>
      <a:lvl4pPr marL="1228725" indent="-158750" algn="l" rtl="0" eaLnBrk="1" fontAlgn="base" hangingPunct="1">
        <a:spcBef>
          <a:spcPts val="600"/>
        </a:spcBef>
        <a:spcAft>
          <a:spcPct val="0"/>
        </a:spcAft>
        <a:buSzPct val="70000"/>
        <a:buFont typeface="Arial" panose="020B0604020202020204" pitchFamily="34" charset="0"/>
        <a:buChar char="○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4pPr>
      <a:lvl5pPr marL="1617663" indent="-176213" algn="l" rtl="0" eaLnBrk="1" fontAlgn="base" hangingPunct="1">
        <a:spcBef>
          <a:spcPts val="600"/>
        </a:spcBef>
        <a:spcAft>
          <a:spcPct val="0"/>
        </a:spcAft>
        <a:buSzPct val="7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5pPr>
      <a:lvl6pPr marL="2038350" indent="0" algn="l" rtl="0" eaLnBrk="1" fontAlgn="base" hangingPunct="1">
        <a:spcBef>
          <a:spcPct val="30000"/>
        </a:spcBef>
        <a:spcAft>
          <a:spcPct val="0"/>
        </a:spcAft>
        <a:buSzPct val="70000"/>
        <a:buNone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44.png"/><Relationship Id="rId18" Type="http://schemas.openxmlformats.org/officeDocument/2006/relationships/customXml" Target="../ink/ink6.xml"/><Relationship Id="rId3" Type="http://schemas.openxmlformats.org/officeDocument/2006/relationships/oleObject" Target="../embeddings/oleObject28.bin"/><Relationship Id="rId7" Type="http://schemas.openxmlformats.org/officeDocument/2006/relationships/image" Target="../media/image41.png"/><Relationship Id="rId12" Type="http://schemas.openxmlformats.org/officeDocument/2006/relationships/customXml" Target="../ink/ink3.xml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5.xml"/><Relationship Id="rId1" Type="http://schemas.openxmlformats.org/officeDocument/2006/relationships/tags" Target="../tags/tag29.xml"/><Relationship Id="rId6" Type="http://schemas.openxmlformats.org/officeDocument/2006/relationships/image" Target="../media/image40.png"/><Relationship Id="rId11" Type="http://schemas.openxmlformats.org/officeDocument/2006/relationships/image" Target="../media/image43.png"/><Relationship Id="rId5" Type="http://schemas.openxmlformats.org/officeDocument/2006/relationships/image" Target="../media/image39.png"/><Relationship Id="rId15" Type="http://schemas.openxmlformats.org/officeDocument/2006/relationships/image" Target="../media/image45.png"/><Relationship Id="rId10" Type="http://schemas.openxmlformats.org/officeDocument/2006/relationships/customXml" Target="../ink/ink2.xml"/><Relationship Id="rId19" Type="http://schemas.openxmlformats.org/officeDocument/2006/relationships/image" Target="../media/image47.png"/><Relationship Id="rId4" Type="http://schemas.openxmlformats.org/officeDocument/2006/relationships/image" Target="../media/image1.emf"/><Relationship Id="rId9" Type="http://schemas.openxmlformats.org/officeDocument/2006/relationships/image" Target="../media/image42.png"/><Relationship Id="rId14" Type="http://schemas.openxmlformats.org/officeDocument/2006/relationships/customXml" Target="../ink/ink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49.pn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0.png"/><Relationship Id="rId13" Type="http://schemas.openxmlformats.org/officeDocument/2006/relationships/customXml" Target="../ink/ink10.xml"/><Relationship Id="rId3" Type="http://schemas.openxmlformats.org/officeDocument/2006/relationships/image" Target="../media/image50.png"/><Relationship Id="rId7" Type="http://schemas.openxmlformats.org/officeDocument/2006/relationships/customXml" Target="../ink/ink7.xml"/><Relationship Id="rId12" Type="http://schemas.openxmlformats.org/officeDocument/2006/relationships/image" Target="../media/image46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80.png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11" Type="http://schemas.openxmlformats.org/officeDocument/2006/relationships/customXml" Target="../ink/ink9.xml"/><Relationship Id="rId5" Type="http://schemas.openxmlformats.org/officeDocument/2006/relationships/oleObject" Target="../embeddings/oleObject31.bin"/><Relationship Id="rId15" Type="http://schemas.openxmlformats.org/officeDocument/2006/relationships/customXml" Target="../ink/ink11.xml"/><Relationship Id="rId10" Type="http://schemas.openxmlformats.org/officeDocument/2006/relationships/image" Target="../media/image450.png"/><Relationship Id="rId4" Type="http://schemas.openxmlformats.org/officeDocument/2006/relationships/image" Target="../media/image51.png"/><Relationship Id="rId9" Type="http://schemas.openxmlformats.org/officeDocument/2006/relationships/customXml" Target="../ink/ink8.xml"/><Relationship Id="rId14" Type="http://schemas.openxmlformats.org/officeDocument/2006/relationships/image" Target="../media/image47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gi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53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5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55.png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60.png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slide" Target="slide44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63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64.gif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oleObject" Target="../embeddings/oleObject42.bin"/><Relationship Id="rId7" Type="http://schemas.openxmlformats.org/officeDocument/2006/relationships/customXml" Target="../ink/ink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6" Type="http://schemas.openxmlformats.org/officeDocument/2006/relationships/image" Target="../media/image65.png"/><Relationship Id="rId5" Type="http://schemas.openxmlformats.org/officeDocument/2006/relationships/slide" Target="slide62.xml"/><Relationship Id="rId10" Type="http://schemas.openxmlformats.org/officeDocument/2006/relationships/image" Target="../media/image67.png"/><Relationship Id="rId4" Type="http://schemas.openxmlformats.org/officeDocument/2006/relationships/image" Target="../media/image1.emf"/><Relationship Id="rId9" Type="http://schemas.openxmlformats.org/officeDocument/2006/relationships/customXml" Target="../ink/ink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spotify.com/documentation/web-api/reference/#/" TargetMode="External"/><Relationship Id="rId2" Type="http://schemas.openxmlformats.org/officeDocument/2006/relationships/hyperlink" Target="https://cran.r-project.org/web/packages/spotidy/vignettes/Connecting-with-the-Spotify-API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openxmlformats.org/officeDocument/2006/relationships/image" Target="../media/image70.gif"/><Relationship Id="rId4" Type="http://schemas.openxmlformats.org/officeDocument/2006/relationships/image" Target="../media/image1.emf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1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73.png"/><Relationship Id="rId4" Type="http://schemas.openxmlformats.org/officeDocument/2006/relationships/image" Target="../media/image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1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1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image" Target="../media/image76.png"/><Relationship Id="rId4" Type="http://schemas.openxmlformats.org/officeDocument/2006/relationships/image" Target="../media/image1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1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hyperlink" Target="https://github.com/abccastro/dsmm.bdm1113" TargetMode="External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5" Type="http://schemas.openxmlformats.org/officeDocument/2006/relationships/image" Target="../media/image81.png"/><Relationship Id="rId4" Type="http://schemas.openxmlformats.org/officeDocument/2006/relationships/image" Target="../media/image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1.emf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gi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5" Type="http://schemas.openxmlformats.org/officeDocument/2006/relationships/image" Target="../media/image85.png"/><Relationship Id="rId4" Type="http://schemas.openxmlformats.org/officeDocument/2006/relationships/image" Target="../media/image1.emf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B571FC37-87C3-4FA3-BEDB-C5AE77AF3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8040" y="3672551"/>
            <a:ext cx="8877935" cy="3003671"/>
          </a:xfrm>
        </p:spPr>
        <p:txBody>
          <a:bodyPr anchor="ctr" anchorCtr="0"/>
          <a:lstStyle/>
          <a:p>
            <a:pPr algn="l" rtl="0" fontAlgn="base"/>
            <a:br>
              <a:rPr lang="en-US" altLang="ja-JP" sz="20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US" altLang="ja-JP" sz="18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to</a:t>
            </a:r>
            <a:br>
              <a:rPr lang="en-US" altLang="ja-JP" sz="20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CA" sz="1800" b="0" i="0" dirty="0">
                <a:effectLst/>
                <a:latin typeface="Calibri" panose="020F0502020204030204" pitchFamily="34" charset="0"/>
              </a:rPr>
              <a:t>Professor Nikhil Shah</a:t>
            </a:r>
            <a:br>
              <a:rPr lang="en-US" sz="1800" b="0" i="0" dirty="0">
                <a:effectLst/>
                <a:latin typeface="Calibri" panose="020F0502020204030204" pitchFamily="34" charset="0"/>
              </a:rPr>
            </a:br>
            <a:br>
              <a:rPr lang="en-US" altLang="ja-JP" sz="20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br>
              <a:rPr lang="en-US" altLang="ja-JP" sz="20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US" altLang="ja-JP" sz="18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by Group 6 Members</a:t>
            </a:r>
            <a:br>
              <a:rPr lang="en-US" altLang="ja-JP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</a:br>
            <a:r>
              <a:rPr lang="en-CA" sz="1800" b="0" i="0" dirty="0">
                <a:effectLst/>
                <a:latin typeface="Calibri" panose="020F0502020204030204" pitchFamily="34" charset="0"/>
              </a:rPr>
              <a:t>Auradee Castro</a:t>
            </a:r>
            <a:r>
              <a:rPr lang="en-US" sz="1800" b="0" i="0" dirty="0">
                <a:effectLst/>
                <a:latin typeface="Calibri" panose="020F0502020204030204" pitchFamily="34" charset="0"/>
              </a:rPr>
              <a:t> </a:t>
            </a:r>
            <a:br>
              <a:rPr lang="en-US" sz="1800" b="0" i="0" dirty="0">
                <a:effectLst/>
                <a:latin typeface="Calibri" panose="020F0502020204030204" pitchFamily="34" charset="0"/>
              </a:rPr>
            </a:br>
            <a:r>
              <a:rPr lang="en-US" sz="1800" b="0" i="0" dirty="0">
                <a:effectLst/>
                <a:latin typeface="Calibri" panose="020F0502020204030204" pitchFamily="34" charset="0"/>
              </a:rPr>
              <a:t>Bhumika Rajendra Babu</a:t>
            </a:r>
            <a:br>
              <a:rPr lang="en-US" sz="1800" b="0" i="0" dirty="0">
                <a:effectLst/>
                <a:latin typeface="Calibri" panose="020F0502020204030204" pitchFamily="34" charset="0"/>
              </a:rPr>
            </a:br>
            <a:r>
              <a:rPr lang="en-CA" sz="1800" b="0" i="0" dirty="0">
                <a:effectLst/>
                <a:latin typeface="Calibri" panose="020F0502020204030204" pitchFamily="34" charset="0"/>
              </a:rPr>
              <a:t>Olivia Deguit</a:t>
            </a:r>
            <a:br>
              <a:rPr lang="en-US" sz="1800" b="0" i="0" dirty="0">
                <a:effectLst/>
                <a:latin typeface="Calibri" panose="020F0502020204030204" pitchFamily="34" charset="0"/>
              </a:rPr>
            </a:br>
            <a:br>
              <a:rPr lang="en-US" sz="1800" b="0" dirty="0">
                <a:latin typeface="Calibri" panose="020F0502020204030204" pitchFamily="34" charset="0"/>
              </a:rPr>
            </a:br>
            <a:endParaRPr kumimoji="1" lang="ja-JP" altLang="en-US" dirty="0">
              <a:solidFill>
                <a:srgbClr val="182044"/>
              </a:solidFill>
              <a:latin typeface="+mj-lt"/>
              <a:ea typeface="+mj-ea"/>
              <a:cs typeface="Arial Bold" panose="020B07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E54D48-7097-BA47-B82F-4D1DE0931D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799" y="890803"/>
            <a:ext cx="8194042" cy="1021237"/>
          </a:xfrm>
        </p:spPr>
        <p:txBody>
          <a:bodyPr/>
          <a:lstStyle/>
          <a:p>
            <a:r>
              <a:rPr kumimoji="1" lang="en-US" sz="2400" dirty="0">
                <a:latin typeface="+mn-lt"/>
                <a:ea typeface="+mn-ea"/>
              </a:rPr>
              <a:t>Term 1 F22 Project : BDM 1113 </a:t>
            </a:r>
            <a:r>
              <a:rPr lang="en-CA" b="1" i="0" dirty="0">
                <a:solidFill>
                  <a:srgbClr val="37474F"/>
                </a:solidFill>
                <a:effectLst/>
                <a:latin typeface="Roboto" panose="02000000000000000000" pitchFamily="2" charset="0"/>
              </a:rPr>
              <a:t>NoSQL Database</a:t>
            </a:r>
            <a:endParaRPr kumimoji="1" lang="en-US" sz="2400" dirty="0">
              <a:latin typeface="+mn-lt"/>
              <a:ea typeface="+mn-ea"/>
            </a:endParaRPr>
          </a:p>
          <a:p>
            <a:r>
              <a:rPr kumimoji="1" lang="en-US" sz="3500" dirty="0">
                <a:latin typeface="+mn-lt"/>
                <a:ea typeface="+mn-ea"/>
              </a:rPr>
              <a:t>Spotify Tracks and Artists [2022]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230505-309A-D65C-3DA2-9043C215C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040" y="5166243"/>
            <a:ext cx="2733255" cy="80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C9ACA2-A3AE-D6EF-CC33-B149455093C7}"/>
              </a:ext>
            </a:extLst>
          </p:cNvPr>
          <p:cNvSpPr txBox="1"/>
          <p:nvPr/>
        </p:nvSpPr>
        <p:spPr>
          <a:xfrm>
            <a:off x="828040" y="2666398"/>
            <a:ext cx="1783080" cy="251795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sz="1400" b="0" i="0" u="none" dirty="0">
                <a:solidFill>
                  <a:srgbClr val="4A4A4A"/>
                </a:solidFill>
                <a:effectLst/>
                <a:latin typeface="Quattrocento Sans" panose="020B0502050000020003" pitchFamily="34" charset="0"/>
              </a:rPr>
              <a:t>December </a:t>
            </a:r>
            <a:r>
              <a:rPr lang="en-US" sz="1400" dirty="0">
                <a:solidFill>
                  <a:srgbClr val="4A4A4A"/>
                </a:solidFill>
                <a:latin typeface="Quattrocento Sans" panose="020B0502050000020003" pitchFamily="34" charset="0"/>
              </a:rPr>
              <a:t>10</a:t>
            </a:r>
            <a:r>
              <a:rPr lang="en-US" sz="1400" b="0" i="0" u="none" dirty="0">
                <a:solidFill>
                  <a:srgbClr val="4A4A4A"/>
                </a:solidFill>
                <a:effectLst/>
                <a:latin typeface="Quattrocento Sans" panose="020B0502050000020003" pitchFamily="34" charset="0"/>
              </a:rPr>
              <a:t>, 2022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93273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2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Artists or Track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s launched with another level of sub-category Search Criteria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827EBB-A380-B84C-7CAB-1966E2254D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6" t="-318" r="1" b="2169"/>
          <a:stretch/>
        </p:blipFill>
        <p:spPr>
          <a:xfrm>
            <a:off x="2394841" y="1584782"/>
            <a:ext cx="5029060" cy="439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4675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3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Artists (by Name)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 “</a:t>
            </a:r>
            <a:r>
              <a:rPr lang="en-US" altLang="ja-JP" sz="1800" b="1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ylor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search criteria then hit enter. List of artists with keyword “</a:t>
            </a:r>
            <a:r>
              <a:rPr lang="en-US" altLang="ja-JP" sz="1800" b="1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ylor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s display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14572C-F559-6B17-065E-F23CC6BD3B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335" t="-318"/>
          <a:stretch/>
        </p:blipFill>
        <p:spPr>
          <a:xfrm>
            <a:off x="383154" y="2187019"/>
            <a:ext cx="4630553" cy="37142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9402F72-487A-ED09-7E3D-E250582CED0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392" t="12861" b="16256"/>
          <a:stretch/>
        </p:blipFill>
        <p:spPr>
          <a:xfrm>
            <a:off x="5057689" y="2187020"/>
            <a:ext cx="4391111" cy="371427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A7955-5287-0BDD-C36D-5A7C51677648}"/>
              </a:ext>
            </a:extLst>
          </p:cNvPr>
          <p:cNvSpPr txBox="1"/>
          <p:nvPr/>
        </p:nvSpPr>
        <p:spPr>
          <a:xfrm>
            <a:off x="383155" y="6028082"/>
            <a:ext cx="6372488" cy="3539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altLang="ja-JP" sz="11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e: Artists with </a:t>
            </a:r>
            <a:r>
              <a:rPr lang="en-US" sz="11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☆ beside the name means that their popularity is greater than or equal to 80</a:t>
            </a:r>
            <a:endParaRPr lang="en-US" altLang="ja-JP" sz="11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756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4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390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Artists (by Genre)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p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search criteria then hit enter. List of artists with keyword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p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n genres is displayed.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5F28EE-E2B2-8B87-5997-A8F19F9FBA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9400" y="1842447"/>
            <a:ext cx="3403822" cy="47878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83531E-EFD6-0BAD-3664-DC6628E3EF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6222" y="1842447"/>
            <a:ext cx="3145568" cy="4787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1971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5/12)</a:t>
            </a:r>
            <a:endParaRPr lang="en-US" altLang="ja-JP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59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 with keyword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p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n artist’s genres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B7EE6E-ADF8-CF0D-5F98-129E5C1BAB6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442"/>
          <a:stretch/>
        </p:blipFill>
        <p:spPr>
          <a:xfrm>
            <a:off x="2004765" y="1332174"/>
            <a:ext cx="5746344" cy="503351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52097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6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400999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Tracks (by Track Name)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dnight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search criteria then hit enter. List of tracks with keyword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dnight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s display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366F67-CD4B-3FDF-F4D7-9355DF7036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39072"/>
          <a:stretch/>
        </p:blipFill>
        <p:spPr>
          <a:xfrm>
            <a:off x="2187996" y="1810064"/>
            <a:ext cx="4836405" cy="48964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9E338CD-4CDD-F1E1-80C0-85CCF86812CE}"/>
              </a:ext>
            </a:extLst>
          </p:cNvPr>
          <p:cNvSpPr txBox="1"/>
          <p:nvPr/>
        </p:nvSpPr>
        <p:spPr>
          <a:xfrm>
            <a:off x="7243901" y="4511958"/>
            <a:ext cx="1979708" cy="8617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altLang="ja-JP" sz="11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e: Artist tracks with </a:t>
            </a:r>
            <a:r>
              <a:rPr lang="en-US" sz="11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☆ beside the name means that their popularity is greater than or equal to 80</a:t>
            </a:r>
            <a:endParaRPr lang="en-US" altLang="ja-JP" sz="11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163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7/12)</a:t>
            </a:r>
            <a:endParaRPr lang="en-US" altLang="ja-JP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 with keyword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dnight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in track name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1DEBEA-FBAC-5358-7589-EDBA1D25EB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078"/>
          <a:stretch/>
        </p:blipFill>
        <p:spPr>
          <a:xfrm>
            <a:off x="225916" y="1596787"/>
            <a:ext cx="4699697" cy="410062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A426B4-C1AF-074B-C538-278AAED1ED5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078"/>
          <a:stretch/>
        </p:blipFill>
        <p:spPr>
          <a:xfrm>
            <a:off x="4980389" y="1596786"/>
            <a:ext cx="4676217" cy="410062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64434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EFEDE-78B0-516C-223F-B13CD87CE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8/12)</a:t>
            </a:r>
            <a:endParaRPr lang="en-US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4CBD5850-A0F4-E2A6-F7DE-4E920C2256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78" y="858459"/>
            <a:ext cx="9662615" cy="563137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42425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9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400999" cy="1021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4”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st Deactivated Artist Profile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ult when record/s found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B307E0-9F57-0B39-D54F-C6023E84CD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672" y="1525050"/>
            <a:ext cx="3921411" cy="51803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1739751-C058-DD8C-9498-ABB6A97DC0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702" t="16169" r="486"/>
          <a:stretch/>
        </p:blipFill>
        <p:spPr>
          <a:xfrm>
            <a:off x="4537880" y="1525050"/>
            <a:ext cx="4890447" cy="392004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20441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10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400999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4”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st Deactivated Artist Profile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5CE8EA-4578-EF2B-C5CA-6DEAF13CDD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3521" y="1706559"/>
            <a:ext cx="5149827" cy="4490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8D8D01-AB88-F824-53BF-6B3F74BDE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19" y="1210386"/>
            <a:ext cx="3013544" cy="467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ult when no record found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2135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11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40099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ther Error Handling for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Artists or Track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8D8D01-AB88-F824-53BF-6B3F74BDE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1181488"/>
            <a:ext cx="4495800" cy="467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Record found for search for “Artist by Name”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BA2E02-BA69-989E-3598-8A45297AE6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6893" y="1527022"/>
            <a:ext cx="5312215" cy="207923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73FC86F-FF9A-2F48-EE23-7DB1283A3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3891392"/>
            <a:ext cx="4495800" cy="467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Record found for search for “Artist by Genre”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85D7D49-BE68-19A7-B082-0DBF27408B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2413" y="4199922"/>
            <a:ext cx="5381175" cy="2079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220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59" y="632130"/>
            <a:ext cx="7250612" cy="4595677"/>
            <a:chOff x="1762760" y="1178560"/>
            <a:chExt cx="6380480" cy="45956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1178560"/>
              <a:ext cx="6380480" cy="10972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2096934" y="1745196"/>
              <a:ext cx="5858345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20700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5488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12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40099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ther Error Handling for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for Artists or Track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8D8D01-AB88-F824-53BF-6B3F74BDE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1365733"/>
            <a:ext cx="3712866" cy="467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Record found for search for “Artist by Track Name”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3FC86F-FF9A-2F48-EE23-7DB1283A3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5123" y="1367098"/>
            <a:ext cx="4271709" cy="467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200" i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Record found for search for “Deactivated Artist Profile”</a:t>
            </a:r>
          </a:p>
          <a:p>
            <a:pPr>
              <a:spcBef>
                <a:spcPts val="0"/>
              </a:spcBef>
            </a:pP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37AC4E-564B-3453-5A2B-CD15008B33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6090"/>
          <a:stretch/>
        </p:blipFill>
        <p:spPr>
          <a:xfrm>
            <a:off x="462117" y="1801194"/>
            <a:ext cx="4120478" cy="24660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B7013BB-9E79-BBEF-8994-6206943022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5123" y="1801194"/>
            <a:ext cx="4271709" cy="3725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131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1955836" y="3558870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8035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390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the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iew Reports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feature is launched with another level of sub-category Search Criteria</a:t>
            </a:r>
          </a:p>
          <a:p>
            <a:pPr>
              <a:spcBef>
                <a:spcPts val="0"/>
              </a:spcBef>
            </a:pPr>
            <a:endParaRPr lang="en-US" altLang="ja-JP" sz="17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Most Number of Followers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report.</a:t>
            </a:r>
          </a:p>
          <a:p>
            <a:pPr>
              <a:spcBef>
                <a:spcPts val="0"/>
              </a:spcBef>
            </a:pP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EB6696-6082-8270-FD1E-ED8117EA36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6648" y="1969321"/>
            <a:ext cx="7506971" cy="443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84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2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 generated for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Most Number of Followers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5DE7E9-2DCD-DA89-2670-7296D858FE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38"/>
          <a:stretch/>
        </p:blipFill>
        <p:spPr>
          <a:xfrm>
            <a:off x="1002303" y="1328631"/>
            <a:ext cx="7901393" cy="486872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859052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3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69496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:</a:t>
            </a:r>
            <a:r>
              <a:rPr lang="ja-JP" altLang="en-US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Most Number of Followers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217CEB8-D2C7-6455-9E13-79262B790D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82" r="1408" b="424"/>
          <a:stretch/>
        </p:blipFill>
        <p:spPr>
          <a:xfrm>
            <a:off x="206012" y="1305062"/>
            <a:ext cx="4727656" cy="489229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1D1B96F-785D-CB5B-568E-1B97A5216B8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42" r="655" b="4884"/>
          <a:stretch/>
        </p:blipFill>
        <p:spPr>
          <a:xfrm>
            <a:off x="5000769" y="1305062"/>
            <a:ext cx="4720988" cy="489229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038336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4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836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closes the report,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View Reports” 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ture.</a:t>
            </a:r>
          </a:p>
          <a:p>
            <a:pPr>
              <a:spcBef>
                <a:spcPts val="0"/>
              </a:spcBef>
            </a:pPr>
            <a:endParaRPr lang="en-US" altLang="ja-JP" sz="17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Highest Popularity Index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report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2D24CF-FDD9-30CF-E809-E8408920E5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992" y="1831497"/>
            <a:ext cx="8086078" cy="454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1946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5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 generated for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Highest Popularity Index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00DEEB-E79E-B512-FE94-BFC2046CCD2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21"/>
          <a:stretch/>
        </p:blipFill>
        <p:spPr>
          <a:xfrm>
            <a:off x="1071349" y="1248770"/>
            <a:ext cx="7575989" cy="507696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745154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6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69496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 :</a:t>
            </a:r>
            <a:r>
              <a:rPr lang="ja-JP" altLang="en-US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Artists with Highest Popularity Index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FA6312-C132-B83D-CF0F-1AC6488CD47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08"/>
          <a:stretch/>
        </p:blipFill>
        <p:spPr>
          <a:xfrm>
            <a:off x="341194" y="1345877"/>
            <a:ext cx="4636135" cy="496063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9B1614-22F2-28F0-2882-3378FEF868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13"/>
          <a:stretch/>
        </p:blipFill>
        <p:spPr>
          <a:xfrm>
            <a:off x="5028063" y="1345877"/>
            <a:ext cx="4495801" cy="496063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831031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7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836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closes the report,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View Reports” 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ture.</a:t>
            </a:r>
          </a:p>
          <a:p>
            <a:pPr>
              <a:spcBef>
                <a:spcPts val="0"/>
              </a:spcBef>
            </a:pPr>
            <a:endParaRPr lang="en-US" altLang="ja-JP" sz="17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Tracks with Highest Popularity Index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report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2A57C0-6C6A-4610-6C8F-3EF6CBED53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096" y="1760562"/>
            <a:ext cx="8174194" cy="460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8593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8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 generated for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p 10 Tracks with Highest Popularity Index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7C7CE6-65DF-D6FF-71D6-8F2D140527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721" y="1318961"/>
            <a:ext cx="8954067" cy="475411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78361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roject Overview</a:t>
            </a:r>
            <a:endParaRPr kumimoji="1" lang="ja-JP" altLang="en-US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Google Shape;235;g115320fe8b6_0_12">
            <a:extLst>
              <a:ext uri="{FF2B5EF4-FFF2-40B4-BE49-F238E27FC236}">
                <a16:creationId xmlns:a16="http://schemas.microsoft.com/office/drawing/2014/main" id="{7D9DC680-720B-5BB2-84CE-E508339FC7B3}"/>
              </a:ext>
            </a:extLst>
          </p:cNvPr>
          <p:cNvSpPr txBox="1"/>
          <p:nvPr/>
        </p:nvSpPr>
        <p:spPr>
          <a:xfrm>
            <a:off x="457200" y="890043"/>
            <a:ext cx="8686800" cy="5023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139700" algn="just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his project is about retrieval of first 1000 tracks and the corresponding artists from Spotify for year 2022. Data extracted from Spotify are stored in </a:t>
            </a:r>
            <a:r>
              <a:rPr lang="en-US" sz="1800" b="1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MongoDB</a:t>
            </a: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, which is used for performing Search, Update and Delete Artist Profiles via </a:t>
            </a:r>
            <a:r>
              <a:rPr lang="en-US" sz="1800" b="1" dirty="0" err="1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PyMongo</a:t>
            </a: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.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25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400" b="1" u="sng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Features of the program include the following: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4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Search for Artists or Tracks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Search for Artists (by Name)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Search for Artists (by Genre)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Search for Artists (by Track Name)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List Deactivated Artists Profile</a:t>
            </a: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View Reports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Artists with Most Number of Followers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Artists with Highest Popularity Index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Tracks with Highest Popularity Index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Number of Artists by Popularity Index (80 to 100)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+mj-lt"/>
              <a:buAutoNum type="alphaL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Number of Tracks by Popularity Index (80 to 100)</a:t>
            </a: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Refresh Artists and Tracks</a:t>
            </a: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Deactivate/Activate Artists Profile</a:t>
            </a: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Delete All Artists Profiles</a:t>
            </a: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r>
              <a:rPr lang="en-US" sz="14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Exit Application</a:t>
            </a:r>
          </a:p>
        </p:txBody>
      </p:sp>
    </p:spTree>
    <p:extLst>
      <p:ext uri="{BB962C8B-B14F-4D97-AF65-F5344CB8AC3E}">
        <p14:creationId xmlns:p14="http://schemas.microsoft.com/office/powerpoint/2010/main" val="19105188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9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836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closes the report,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View Reports” 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ture.</a:t>
            </a:r>
          </a:p>
          <a:p>
            <a:pPr>
              <a:spcBef>
                <a:spcPts val="0"/>
              </a:spcBef>
            </a:pPr>
            <a:endParaRPr lang="en-US" altLang="ja-JP" sz="17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Artists by Popularity Index (80 to 100)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repor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38A607-A4C8-91B7-0BF2-5AAE680BA5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6411" y="1784583"/>
            <a:ext cx="7751929" cy="44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0033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0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 generated for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Artists by Popularity Index (80 to 100)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AB4040-77B0-6235-3687-0CBC1FE148C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81"/>
          <a:stretch/>
        </p:blipFill>
        <p:spPr>
          <a:xfrm>
            <a:off x="1135049" y="1235122"/>
            <a:ext cx="7735996" cy="517616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184921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1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69496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 :</a:t>
            </a:r>
            <a:r>
              <a:rPr lang="ja-JP" altLang="en-US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Artists by Popularity Index (80 to 100)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09CC45-64AC-09C0-AAF6-97D397A43EA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472"/>
          <a:stretch/>
        </p:blipFill>
        <p:spPr>
          <a:xfrm>
            <a:off x="628023" y="1202617"/>
            <a:ext cx="3923854" cy="25117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D4E47E7-C48A-E89C-35BF-13474C9CF22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9234"/>
          <a:stretch/>
        </p:blipFill>
        <p:spPr>
          <a:xfrm>
            <a:off x="5278772" y="1202617"/>
            <a:ext cx="3923853" cy="25117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CC628FB-E128-E2E7-DC0D-138124D5B7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5301" y="3802088"/>
            <a:ext cx="4575398" cy="290117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73A9556-7E91-0ACF-5083-DC46BAD66DAA}"/>
              </a:ext>
            </a:extLst>
          </p:cNvPr>
          <p:cNvSpPr/>
          <p:nvPr/>
        </p:nvSpPr>
        <p:spPr bwMode="auto">
          <a:xfrm>
            <a:off x="628023" y="2080009"/>
            <a:ext cx="3923854" cy="663191"/>
          </a:xfrm>
          <a:prstGeom prst="rect">
            <a:avLst/>
          </a:prstGeom>
          <a:noFill/>
          <a:ln w="412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A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8F023-1A7E-9F5C-814E-AFE0DC110746}"/>
              </a:ext>
            </a:extLst>
          </p:cNvPr>
          <p:cNvSpPr/>
          <p:nvPr/>
        </p:nvSpPr>
        <p:spPr bwMode="auto">
          <a:xfrm>
            <a:off x="5278772" y="2058648"/>
            <a:ext cx="3923854" cy="663191"/>
          </a:xfrm>
          <a:prstGeom prst="rect">
            <a:avLst/>
          </a:prstGeom>
          <a:noFill/>
          <a:ln w="412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A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87165D-2814-F434-8C71-2350B3AECEC8}"/>
              </a:ext>
            </a:extLst>
          </p:cNvPr>
          <p:cNvSpPr/>
          <p:nvPr/>
        </p:nvSpPr>
        <p:spPr bwMode="auto">
          <a:xfrm>
            <a:off x="2665301" y="4870643"/>
            <a:ext cx="4575398" cy="663191"/>
          </a:xfrm>
          <a:prstGeom prst="rect">
            <a:avLst/>
          </a:prstGeom>
          <a:noFill/>
          <a:ln w="412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A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2F736308-4245-67C6-824F-02CAB29B37F3}"/>
                  </a:ext>
                </a:extLst>
              </p14:cNvPr>
              <p14:cNvContentPartPr/>
              <p14:nvPr/>
            </p14:nvContentPartPr>
            <p14:xfrm>
              <a:off x="1401600" y="2326240"/>
              <a:ext cx="685440" cy="1080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2F736308-4245-67C6-824F-02CAB29B37F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347960" y="2218600"/>
                <a:ext cx="793080" cy="22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4DD591CD-7279-E95F-7E71-C9BDE374D93E}"/>
                  </a:ext>
                </a:extLst>
              </p14:cNvPr>
              <p14:cNvContentPartPr/>
              <p14:nvPr/>
            </p14:nvContentPartPr>
            <p14:xfrm>
              <a:off x="3012240" y="2595520"/>
              <a:ext cx="248400" cy="15840"/>
            </p14:xfrm>
          </p:contentPart>
        </mc:Choice>
        <mc:Fallback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4DD591CD-7279-E95F-7E71-C9BDE374D93E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958240" y="2487880"/>
                <a:ext cx="356040" cy="231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19C9E6C7-7DA7-EB71-A4B5-ACBEE4E4E82B}"/>
                  </a:ext>
                </a:extLst>
              </p14:cNvPr>
              <p14:cNvContentPartPr/>
              <p14:nvPr/>
            </p14:nvContentPartPr>
            <p14:xfrm>
              <a:off x="5973960" y="2320480"/>
              <a:ext cx="751680" cy="11160"/>
            </p14:xfrm>
          </p:contentPart>
        </mc:Choice>
        <mc:Fallback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19C9E6C7-7DA7-EB71-A4B5-ACBEE4E4E82B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919960" y="2212840"/>
                <a:ext cx="859320" cy="22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9EF26F12-5B3A-F124-F039-16CEC0FA4996}"/>
                  </a:ext>
                </a:extLst>
              </p14:cNvPr>
              <p14:cNvContentPartPr/>
              <p14:nvPr/>
            </p14:nvContentPartPr>
            <p14:xfrm>
              <a:off x="7543560" y="2584720"/>
              <a:ext cx="381240" cy="17280"/>
            </p14:xfrm>
          </p:contentPart>
        </mc:Choice>
        <mc:Fallback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9EF26F12-5B3A-F124-F039-16CEC0FA4996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489560" y="2476720"/>
                <a:ext cx="488880" cy="232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6F841989-F7DE-0DB5-0FBA-243D7E11352B}"/>
                  </a:ext>
                </a:extLst>
              </p14:cNvPr>
              <p14:cNvContentPartPr/>
              <p14:nvPr/>
            </p14:nvContentPartPr>
            <p14:xfrm>
              <a:off x="3566080" y="5105080"/>
              <a:ext cx="734400" cy="20880"/>
            </p14:xfrm>
          </p:contentPart>
        </mc:Choice>
        <mc:Fallback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6F841989-F7DE-0DB5-0FBA-243D7E11352B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512080" y="4997080"/>
                <a:ext cx="842040" cy="23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785ADCDF-9B70-9BF9-C6E9-1FB26A2DCBF3}"/>
                  </a:ext>
                </a:extLst>
              </p14:cNvPr>
              <p14:cNvContentPartPr/>
              <p14:nvPr/>
            </p14:nvContentPartPr>
            <p14:xfrm>
              <a:off x="5364280" y="5410000"/>
              <a:ext cx="380880" cy="15840"/>
            </p14:xfrm>
          </p:contentPart>
        </mc:Choice>
        <mc:Fallback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785ADCDF-9B70-9BF9-C6E9-1FB26A2DCBF3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5310280" y="5302000"/>
                <a:ext cx="488520" cy="231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371597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2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821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closes the report,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View Reports” 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ture.</a:t>
            </a:r>
          </a:p>
          <a:p>
            <a:pPr>
              <a:spcBef>
                <a:spcPts val="0"/>
              </a:spcBef>
            </a:pPr>
            <a:endParaRPr lang="en-US" altLang="ja-JP" sz="17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“</a:t>
            </a:r>
            <a:r>
              <a:rPr lang="en-US" altLang="ja-JP" sz="17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Tracks by Popularity Index (80 to 100)</a:t>
            </a:r>
            <a:r>
              <a:rPr lang="en-US" altLang="ja-JP" sz="17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repor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FDC058-CCAC-D660-5E6B-80A1857797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400" y="1589545"/>
            <a:ext cx="8343201" cy="475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656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3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port generated for the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Tracks by Popularity Index (80 to 100)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25CCFA-7BCB-88E2-D2AD-7BE4DC69C7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4298" y="1192362"/>
            <a:ext cx="7925457" cy="525395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444625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AD08FC0-181E-5F67-69C1-2351075D87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76"/>
          <a:stretch/>
        </p:blipFill>
        <p:spPr>
          <a:xfrm>
            <a:off x="5303154" y="1357947"/>
            <a:ext cx="4177595" cy="492024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E1CFC4-E546-1BBD-6714-8EA1CE2A3C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498"/>
          <a:stretch/>
        </p:blipFill>
        <p:spPr>
          <a:xfrm>
            <a:off x="452123" y="1357947"/>
            <a:ext cx="4756313" cy="4757523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4/1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0" y="660641"/>
            <a:ext cx="9694969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arch results in MongoDB :</a:t>
            </a:r>
            <a:r>
              <a:rPr lang="ja-JP" altLang="en-US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umber of Tracks by Popularity Index (80 to 100)”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73A9556-7E91-0ACF-5083-DC46BAD66DAA}"/>
              </a:ext>
            </a:extLst>
          </p:cNvPr>
          <p:cNvSpPr/>
          <p:nvPr/>
        </p:nvSpPr>
        <p:spPr bwMode="auto">
          <a:xfrm>
            <a:off x="446360" y="2108654"/>
            <a:ext cx="4731930" cy="786030"/>
          </a:xfrm>
          <a:prstGeom prst="rect">
            <a:avLst/>
          </a:prstGeom>
          <a:noFill/>
          <a:ln w="412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A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8F023-1A7E-9F5C-814E-AFE0DC110746}"/>
              </a:ext>
            </a:extLst>
          </p:cNvPr>
          <p:cNvSpPr/>
          <p:nvPr/>
        </p:nvSpPr>
        <p:spPr bwMode="auto">
          <a:xfrm>
            <a:off x="5303154" y="2108655"/>
            <a:ext cx="4145645" cy="794674"/>
          </a:xfrm>
          <a:prstGeom prst="rect">
            <a:avLst/>
          </a:prstGeom>
          <a:noFill/>
          <a:ln w="412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A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43F07DAF-BAE7-3F32-CAB6-4BF384C469AA}"/>
                  </a:ext>
                </a:extLst>
              </p14:cNvPr>
              <p14:cNvContentPartPr/>
              <p14:nvPr/>
            </p14:nvContentPartPr>
            <p14:xfrm>
              <a:off x="3384905" y="2717857"/>
              <a:ext cx="338760" cy="2196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43F07DAF-BAE7-3F32-CAB6-4BF384C469A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330848" y="2609857"/>
                <a:ext cx="446515" cy="237600"/>
              </a:xfrm>
              <a:prstGeom prst="rect">
                <a:avLst/>
              </a:prstGeom>
            </p:spPr>
          </p:pic>
        </mc:Fallback>
      </mc:AlternateContent>
      <p:sp>
        <p:nvSpPr>
          <p:cNvPr id="21" name="CaixaDeTexto 20">
            <a:extLst>
              <a:ext uri="{FF2B5EF4-FFF2-40B4-BE49-F238E27FC236}">
                <a16:creationId xmlns:a16="http://schemas.microsoft.com/office/drawing/2014/main" id="{B25BDBAF-378C-484F-B773-FA312CC4B772}"/>
              </a:ext>
            </a:extLst>
          </p:cNvPr>
          <p:cNvSpPr txBox="1"/>
          <p:nvPr/>
        </p:nvSpPr>
        <p:spPr>
          <a:xfrm>
            <a:off x="5536096" y="3501096"/>
            <a:ext cx="839338" cy="251795"/>
          </a:xfrm>
          <a:prstGeom prst="rect">
            <a:avLst/>
          </a:prstGeom>
          <a:noFill/>
        </p:spPr>
        <p:txBody>
          <a:bodyPr wrap="square" lIns="36000" tIns="36000" rIns="36000" bIns="0" rtlCol="0" anchor="ctr" anchorCtr="1">
            <a:spAutoFit/>
          </a:bodyPr>
          <a:lstStyle/>
          <a:p>
            <a:pPr algn="ctr">
              <a:defRPr kumimoji="1" sz="1400" smtClean="0">
                <a:latin typeface="+mn-lt"/>
                <a:ea typeface="+mn-ea"/>
              </a:defRPr>
            </a:pPr>
            <a:r>
              <a:rPr kumimoji="1" lang="en-CA" sz="1400">
                <a:solidFill>
                  <a:srgbClr val="FFFC00"/>
                </a:solidFill>
                <a:latin typeface="+mn-lt"/>
                <a:ea typeface="+mn-ea"/>
              </a:rPr>
              <a:t>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7F49B7AB-A68D-38A3-EF6F-0611F44C752F}"/>
                  </a:ext>
                </a:extLst>
              </p14:cNvPr>
              <p14:cNvContentPartPr/>
              <p14:nvPr/>
            </p14:nvContentPartPr>
            <p14:xfrm>
              <a:off x="1390122" y="2327512"/>
              <a:ext cx="1271520" cy="31680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7F49B7AB-A68D-38A3-EF6F-0611F44C752F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6122" y="2219512"/>
                <a:ext cx="1379160" cy="247320"/>
              </a:xfrm>
              <a:prstGeom prst="rect">
                <a:avLst/>
              </a:prstGeom>
            </p:spPr>
          </p:pic>
        </mc:Fallback>
      </mc:AlternateContent>
      <p:grpSp>
        <p:nvGrpSpPr>
          <p:cNvPr id="4" name="Group 3">
            <a:extLst>
              <a:ext uri="{FF2B5EF4-FFF2-40B4-BE49-F238E27FC236}">
                <a16:creationId xmlns:a16="http://schemas.microsoft.com/office/drawing/2014/main" id="{60854669-A6BD-6939-5238-5CE280D4CCE3}"/>
              </a:ext>
            </a:extLst>
          </p:cNvPr>
          <p:cNvGrpSpPr/>
          <p:nvPr/>
        </p:nvGrpSpPr>
        <p:grpSpPr>
          <a:xfrm>
            <a:off x="6066321" y="2264152"/>
            <a:ext cx="1073160" cy="63360"/>
            <a:chOff x="6066321" y="2489344"/>
            <a:chExt cx="1073160" cy="63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9FF725AD-FE35-EA06-0301-45E0F2D9DCDA}"/>
                    </a:ext>
                  </a:extLst>
                </p14:cNvPr>
                <p14:cNvContentPartPr/>
                <p14:nvPr/>
              </p14:nvContentPartPr>
              <p14:xfrm>
                <a:off x="6066321" y="2489344"/>
                <a:ext cx="652320" cy="11520"/>
              </p14:xfrm>
            </p:contentPart>
          </mc:Choice>
          <mc:Fallback xmlns=""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9FF725AD-FE35-EA06-0301-45E0F2D9DCDA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012321" y="2381344"/>
                  <a:ext cx="759960" cy="22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56DCB4A7-2382-72F4-5045-7E575CA10848}"/>
                    </a:ext>
                  </a:extLst>
                </p14:cNvPr>
                <p14:cNvContentPartPr/>
                <p14:nvPr/>
              </p14:nvContentPartPr>
              <p14:xfrm>
                <a:off x="6718641" y="2500864"/>
                <a:ext cx="420840" cy="51840"/>
              </p14:xfrm>
            </p:contentPart>
          </mc:Choice>
          <mc:Fallback xmlns=""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56DCB4A7-2382-72F4-5045-7E575CA10848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664641" y="2392864"/>
                  <a:ext cx="528480" cy="2674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46D41793-0A9B-855A-C5C3-E9A7FCCC5957}"/>
                  </a:ext>
                </a:extLst>
              </p14:cNvPr>
              <p14:cNvContentPartPr/>
              <p14:nvPr/>
            </p14:nvContentPartPr>
            <p14:xfrm>
              <a:off x="7713897" y="2562851"/>
              <a:ext cx="42372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46D41793-0A9B-855A-C5C3-E9A7FCCC5957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659897" y="2454851"/>
                <a:ext cx="531360" cy="21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185242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8B65B-9459-1C21-2AA5-6A8CC6B39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 Reports (15/15)</a:t>
            </a:r>
            <a:endParaRPr lang="en-US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6EF1B7CC-F88B-A14D-05DB-77A520E149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84" y="725511"/>
            <a:ext cx="9724031" cy="566139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773620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1955836" y="4005910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20759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fresh Artist and Tracks (1/3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021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the user is prompted if he would like to proceed with replacing the active artist profiles with records from Spotify.</a:t>
            </a:r>
          </a:p>
          <a:p>
            <a:pPr>
              <a:spcBef>
                <a:spcPts val="0"/>
              </a:spcBef>
            </a:pPr>
            <a:endParaRPr lang="en-US" altLang="ja-JP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launch to proceed with data refresh from Spotify record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EE6412-8711-FFD3-4442-32D378B521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46" b="388"/>
          <a:stretch/>
        </p:blipFill>
        <p:spPr>
          <a:xfrm>
            <a:off x="2450029" y="1729645"/>
            <a:ext cx="5005942" cy="50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4605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fresh Artist and Tracks (2/3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the user is asked if he would like to proceed with replacing the active artist profiles with records from Spotify.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keep the current records in Mongo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FDF905-DD75-FF3A-F8E4-01D5016936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650" y="2033517"/>
            <a:ext cx="7369791" cy="429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481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roject Overview</a:t>
            </a:r>
            <a:endParaRPr kumimoji="1" lang="ja-JP" altLang="en-US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Google Shape;235;g115320fe8b6_0_12">
            <a:extLst>
              <a:ext uri="{FF2B5EF4-FFF2-40B4-BE49-F238E27FC236}">
                <a16:creationId xmlns:a16="http://schemas.microsoft.com/office/drawing/2014/main" id="{7D9DC680-720B-5BB2-84CE-E508339FC7B3}"/>
              </a:ext>
            </a:extLst>
          </p:cNvPr>
          <p:cNvSpPr txBox="1"/>
          <p:nvPr/>
        </p:nvSpPr>
        <p:spPr>
          <a:xfrm>
            <a:off x="457200" y="890043"/>
            <a:ext cx="8686800" cy="14380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20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List of files to run the program and the short description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4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596900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AutoNum type="arabicPeriod"/>
            </a:pPr>
            <a:endParaRPr lang="en-US" sz="25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2500" dirty="0">
              <a:solidFill>
                <a:schemeClr val="dk1"/>
              </a:solidFill>
              <a:latin typeface="+mn-lt"/>
              <a:ea typeface="Quattrocento Sans"/>
              <a:cs typeface="Quattrocento Sans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5D8DC30-DFBE-8442-91C6-43C246244D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249852"/>
              </p:ext>
            </p:extLst>
          </p:nvPr>
        </p:nvGraphicFramePr>
        <p:xfrm>
          <a:off x="670560" y="1562910"/>
          <a:ext cx="8686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9157">
                  <a:extLst>
                    <a:ext uri="{9D8B030D-6E8A-4147-A177-3AD203B41FA5}">
                      <a16:colId xmlns:a16="http://schemas.microsoft.com/office/drawing/2014/main" val="1739774885"/>
                    </a:ext>
                  </a:extLst>
                </a:gridCol>
                <a:gridCol w="6417643">
                  <a:extLst>
                    <a:ext uri="{9D8B030D-6E8A-4147-A177-3AD203B41FA5}">
                      <a16:colId xmlns:a16="http://schemas.microsoft.com/office/drawing/2014/main" val="39484561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File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670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spotifyApp.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Main program of the 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913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dbconnect.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All functions related to MongoDB conne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5248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spotifyconnect.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solidFill>
                            <a:schemeClr val="tx1"/>
                          </a:solidFill>
                        </a:rPr>
                        <a:t>All functions related to Spotify conne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748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dirty="0"/>
                        <a:t>visualization.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dirty="0"/>
                        <a:t>All functions related to graph cre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9533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A" dirty="0" err="1"/>
                        <a:t>dbconfig</a:t>
                      </a:r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dirty="0"/>
                        <a:t>File containing database configu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3303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141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fresh Artist and Tracks (3/3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: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rd is updated based on the “</a:t>
            </a:r>
            <a:r>
              <a:rPr lang="en-US" altLang="ja-JP" sz="1800" b="1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pdate_datetime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ield in MongoDB 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D3C956-A066-0ED1-20AE-961CEF4E8A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376"/>
          <a:stretch/>
        </p:blipFill>
        <p:spPr>
          <a:xfrm>
            <a:off x="500105" y="1562668"/>
            <a:ext cx="8948695" cy="427033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62062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1955836" y="4473270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48480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1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user enters Artist ID: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uNFoZAHBGtllmzznpCI3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change the status from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tive (A)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active (I)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ABD351-055E-5A6E-C66B-83FE8DBB8B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176" t="20857"/>
          <a:stretch/>
        </p:blipFill>
        <p:spPr>
          <a:xfrm>
            <a:off x="813742" y="3326642"/>
            <a:ext cx="8333309" cy="304195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3FF050-88AB-7B13-79CB-A3FD7A670A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3742" y="2001969"/>
            <a:ext cx="2550431" cy="104812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DEDEECB-F6AF-785F-C52F-3E52C475FA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372" y="1362951"/>
            <a:ext cx="9253680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rrent State before setting “</a:t>
            </a:r>
            <a:r>
              <a:rPr lang="en-US" altLang="ja-JP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ustin Bieber”</a:t>
            </a:r>
            <a:r>
              <a:rPr lang="en-US" altLang="ja-JP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 </a:t>
            </a:r>
            <a:r>
              <a:rPr lang="en-US" altLang="ja-JP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active (I)</a:t>
            </a:r>
          </a:p>
        </p:txBody>
      </p:sp>
    </p:spTree>
    <p:extLst>
      <p:ext uri="{BB962C8B-B14F-4D97-AF65-F5344CB8AC3E}">
        <p14:creationId xmlns:p14="http://schemas.microsoft.com/office/powerpoint/2010/main" val="33667117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2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ult after changing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ustin Bieber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status to Inactive. His name was added to the list of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activated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rtist profi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7E4EF0-2711-2739-EFA3-14D4D4B8C9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690" y="1362951"/>
            <a:ext cx="6235002" cy="2926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A7198F-0D2C-56AF-8E29-05D24727E2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5940" y="3778437"/>
            <a:ext cx="6169504" cy="292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4160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3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: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“status” was updated to “I” in MongoDB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B368F2-655A-1D3A-A188-E9CE1B841B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129" t="19544"/>
          <a:stretch/>
        </p:blipFill>
        <p:spPr>
          <a:xfrm>
            <a:off x="300574" y="1712794"/>
            <a:ext cx="9304852" cy="356573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282540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4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user enters Artist ID: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uNFoZAHBGtllmzznpCI3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o change the status from Inactive (I) to Active (A)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DEDEECB-F6AF-785F-C52F-3E52C475FA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372" y="136295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5" action="ppaction://hlinksldjump"/>
              </a:rPr>
              <a:t>For the current state before setting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5" action="ppaction://hlinksldjump"/>
              </a:rPr>
              <a:t>Justin Bieber”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5" action="ppaction://hlinksldjump"/>
              </a:rPr>
              <a:t> back to Active, refer to the previous slide</a:t>
            </a: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8276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5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ult after changing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ustin Bieber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status to Active. His name no longer included in the list of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activated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rtist profil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E01943-8E75-C35A-08E6-56CFB4AC15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521" y="1425415"/>
            <a:ext cx="5528242" cy="35696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E091BC-81E0-DC05-55AE-7EB079AD9AB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/>
          <a:stretch/>
        </p:blipFill>
        <p:spPr>
          <a:xfrm>
            <a:off x="4230665" y="3671248"/>
            <a:ext cx="5063461" cy="258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6613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6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 The “status” was updated to “A” in MongoDB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23A8292-3CE0-C623-AA40-5B5E3D0C74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606" t="20276"/>
          <a:stretch/>
        </p:blipFill>
        <p:spPr>
          <a:xfrm>
            <a:off x="398802" y="1737015"/>
            <a:ext cx="9108395" cy="338397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3216825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7/10)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5977A4CE-405B-48F9-7D49-396DACEE14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2" y="893928"/>
            <a:ext cx="9685787" cy="5639128"/>
          </a:xfrm>
          <a:prstGeom prst="rect">
            <a:avLst/>
          </a:prstGeom>
          <a:ln w="3810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217568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8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les for Deactivated Artist Profile: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altLang="ja-JP" sz="1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y are </a:t>
            </a:r>
            <a:r>
              <a:rPr lang="en-US" altLang="ja-JP" sz="1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5" action="ppaction://hlinksldjump"/>
              </a:rPr>
              <a:t>excluded when refreshing data from Spotify</a:t>
            </a:r>
            <a:endParaRPr lang="en-US" altLang="ja-JP" sz="18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altLang="ja-JP" sz="1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ir name and tracks are excluded from all the repor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8826EB-8980-1602-D097-0F4324D389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0585" y="2011710"/>
            <a:ext cx="6990201" cy="4572913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EEDB6330-F9D6-5D90-E214-B3A686DDDB56}"/>
                  </a:ext>
                </a:extLst>
              </p14:cNvPr>
              <p14:cNvContentPartPr/>
              <p14:nvPr/>
            </p14:nvContentPartPr>
            <p14:xfrm>
              <a:off x="2940662" y="5254764"/>
              <a:ext cx="230760" cy="34560"/>
            </p14:xfrm>
          </p:contentPart>
        </mc:Choice>
        <mc:Fallback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EEDB6330-F9D6-5D90-E214-B3A686DDDB56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887022" y="5146764"/>
                <a:ext cx="338400" cy="25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140257C2-0EB7-1EC5-45BE-81F90D5CAFF2}"/>
                  </a:ext>
                </a:extLst>
              </p14:cNvPr>
              <p14:cNvContentPartPr/>
              <p14:nvPr/>
            </p14:nvContentPartPr>
            <p14:xfrm>
              <a:off x="3249182" y="6301284"/>
              <a:ext cx="142200" cy="34200"/>
            </p14:xfrm>
          </p:contentPart>
        </mc:Choice>
        <mc:Fallback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140257C2-0EB7-1EC5-45BE-81F90D5CAFF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195542" y="6193644"/>
                <a:ext cx="249840" cy="249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34813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27D400-45D5-88E1-E3D0-A6AFDEA33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ch Stack</a:t>
            </a:r>
            <a:endParaRPr lang="en-US" dirty="0"/>
          </a:p>
        </p:txBody>
      </p:sp>
      <p:sp>
        <p:nvSpPr>
          <p:cNvPr id="3" name="Google Shape;235;g115320fe8b6_0_12">
            <a:extLst>
              <a:ext uri="{FF2B5EF4-FFF2-40B4-BE49-F238E27FC236}">
                <a16:creationId xmlns:a16="http://schemas.microsoft.com/office/drawing/2014/main" id="{753B9641-6A5F-0BBE-B9ED-0FAC227FDFDF}"/>
              </a:ext>
            </a:extLst>
          </p:cNvPr>
          <p:cNvSpPr txBox="1"/>
          <p:nvPr/>
        </p:nvSpPr>
        <p:spPr>
          <a:xfrm>
            <a:off x="457200" y="890043"/>
            <a:ext cx="8905164" cy="1530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800" dirty="0" err="1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Spotipy</a:t>
            </a: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, a lightweight Python library, is used to connect to Spotify Web API. Client ID and client secret is necessary for Spotify connection and data extraction. The credentials are stored in MongoDB.</a:t>
            </a:r>
          </a:p>
          <a:p>
            <a:pPr marL="425450" indent="-28575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  <a:hlinkClick r:id="rId2"/>
              </a:rPr>
              <a:t>Instructions to connect to Spotify</a:t>
            </a: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425450" indent="-28575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  <a:hlinkClick r:id="rId3"/>
              </a:rPr>
              <a:t>Spotify Web API</a:t>
            </a: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A31A69-8BC2-23BE-93A4-ECC250C9D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439" y="2650808"/>
            <a:ext cx="5438633" cy="24639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26CCAC-524F-2439-C6E1-4A8CE1457D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8546" y="3866911"/>
            <a:ext cx="4962015" cy="235959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48273A3-99A1-FCF6-2197-C2A1FA97A738}"/>
              </a:ext>
            </a:extLst>
          </p:cNvPr>
          <p:cNvCxnSpPr/>
          <p:nvPr/>
        </p:nvCxnSpPr>
        <p:spPr bwMode="auto">
          <a:xfrm>
            <a:off x="1738952" y="4706260"/>
            <a:ext cx="3262952" cy="1162277"/>
          </a:xfrm>
          <a:prstGeom prst="bentConnector3">
            <a:avLst/>
          </a:prstGeom>
          <a:solidFill>
            <a:srgbClr val="FF66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ACAFC568-3532-957B-10DB-47B2F97095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89511" y="2650808"/>
            <a:ext cx="2708104" cy="811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225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9/10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B6EF4B-80F4-0AAD-6387-5F7F39172E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775" y="1646307"/>
            <a:ext cx="5411649" cy="35546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77CCD90-AA72-597F-EE45-0BEA94E022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9127" y="3098042"/>
            <a:ext cx="5988224" cy="339588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3457AA5-D83F-C98D-823C-62A7869F8EAE}"/>
              </a:ext>
            </a:extLst>
          </p:cNvPr>
          <p:cNvSpPr txBox="1"/>
          <p:nvPr/>
        </p:nvSpPr>
        <p:spPr>
          <a:xfrm>
            <a:off x="457200" y="805106"/>
            <a:ext cx="89916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altLang="ja-JP" sz="1600" b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Taylor Swift” </a:t>
            </a:r>
            <a:r>
              <a:rPr lang="en-US" altLang="ja-JP" sz="16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her song </a:t>
            </a:r>
            <a:r>
              <a:rPr lang="en-US" altLang="ja-JP" sz="1600" b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Anti-Hero”</a:t>
            </a:r>
            <a:r>
              <a:rPr lang="en-US" altLang="ja-JP" sz="16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are </a:t>
            </a:r>
            <a:r>
              <a:rPr lang="en-US" altLang="ja-JP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xcluded from </a:t>
            </a:r>
            <a:r>
              <a:rPr lang="en-US" altLang="ja-JP" sz="1600" b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Top 10 Artists with Highest Popularity Index” </a:t>
            </a:r>
            <a:r>
              <a:rPr lang="en-US" altLang="ja-JP" sz="16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d </a:t>
            </a:r>
            <a:r>
              <a:rPr lang="en-US" altLang="ja-JP" sz="1600" b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“Top 10 Tracks with Highest Popularity Index”</a:t>
            </a:r>
            <a:r>
              <a:rPr lang="en-US" altLang="ja-JP" sz="16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reports respectively</a:t>
            </a:r>
            <a:endParaRPr lang="ja-JP" altLang="en-US" b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40978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activate/Activate Artists Profile (10/10)</a:t>
            </a:r>
          </a:p>
        </p:txBody>
      </p:sp>
      <p:pic>
        <p:nvPicPr>
          <p:cNvPr id="5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9AA7D751-BD82-AF1D-AFB3-7904AEFEED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13" y="709394"/>
            <a:ext cx="9354574" cy="6016442"/>
          </a:xfrm>
          <a:prstGeom prst="rect">
            <a:avLst/>
          </a:prstGeom>
          <a:ln w="3810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0417089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1955836" y="4910150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406665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1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ete All Artist Profile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. </a:t>
            </a: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e: Only Authorized Users are allowed to perform this procedure.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valid credentials and asks if he would like to proceed with the delet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0D7545-B1B7-CFE6-0A83-BB7FAEF0E8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t="-203" r="36106" b="203"/>
          <a:stretch/>
        </p:blipFill>
        <p:spPr>
          <a:xfrm>
            <a:off x="423721" y="2121669"/>
            <a:ext cx="4590888" cy="32624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4CC53F7-2ACD-CC48-0F73-08A22B03ADF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70" r="1043"/>
          <a:stretch/>
        </p:blipFill>
        <p:spPr>
          <a:xfrm>
            <a:off x="5090614" y="2135222"/>
            <a:ext cx="4415691" cy="360222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345116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2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nd artist profiles will not be deleted from MongoD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1A413C-5038-87F2-E00D-9A78185A98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6360"/>
          <a:stretch/>
        </p:blipFill>
        <p:spPr>
          <a:xfrm>
            <a:off x="1330656" y="1327775"/>
            <a:ext cx="7144604" cy="4869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2889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3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: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rds of all artists still exist in MongoDB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25A7E9-85B4-17D2-FBB0-7DE5760CBD5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759" t="14252" b="7889"/>
          <a:stretch/>
        </p:blipFill>
        <p:spPr>
          <a:xfrm>
            <a:off x="457200" y="1317417"/>
            <a:ext cx="6935606" cy="363672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D537F0-D9A5-4AED-D201-0D4F19E0FC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1623" y="2854339"/>
            <a:ext cx="5415887" cy="357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09052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4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1144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then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to launch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lete All Artist Profile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. Note: Only Authorized Users are allowed to perform this transaction.</a:t>
            </a:r>
          </a:p>
          <a:p>
            <a:pPr>
              <a:spcBef>
                <a:spcPts val="0"/>
              </a:spcBef>
            </a:pPr>
            <a:endParaRPr lang="en-US" altLang="ja-JP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valid credentials and user is asked if would like to proceed with the deleti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C38794-1BDE-94D8-0DE1-8347B0FDEAE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t="-203" r="36106" b="203"/>
          <a:stretch/>
        </p:blipFill>
        <p:spPr>
          <a:xfrm>
            <a:off x="423721" y="2121669"/>
            <a:ext cx="4590888" cy="32624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69F82C-FC34-44C9-76F2-F9F2E809BA3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70" r="1043"/>
          <a:stretch/>
        </p:blipFill>
        <p:spPr>
          <a:xfrm>
            <a:off x="5083790" y="2135222"/>
            <a:ext cx="4415691" cy="360222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2719775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5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nd all artists are deleted from MongoDB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A7FF1D-38A6-98DF-B1E4-C7E34E68C4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8009" y="1637732"/>
            <a:ext cx="7349982" cy="434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54632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6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: 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cords of all artists no longer exist in MongoDB</a:t>
            </a:r>
            <a:endParaRPr lang="ja-JP" altLang="en-US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B0F276-F8E7-0D24-2025-2BC1186E509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050" t="14369"/>
          <a:stretch/>
        </p:blipFill>
        <p:spPr>
          <a:xfrm>
            <a:off x="423721" y="1287928"/>
            <a:ext cx="6612603" cy="379407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BA471B6-BA6B-B48B-3B6C-36072B032E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0681" y="3011607"/>
            <a:ext cx="5524094" cy="318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24744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7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172235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resh data once again by getting fresh data from Spotify by running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resh Artists and Tracks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5D003B-D584-C459-4809-5EF3E9A1E9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1362951"/>
            <a:ext cx="5229971" cy="29980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D6B1A2-89DE-7ED1-3D50-B558C05C14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9438" y="3238370"/>
            <a:ext cx="5556518" cy="323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937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ch Stack</a:t>
            </a:r>
            <a:endParaRPr kumimoji="1" lang="ja-JP" altLang="en-US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Google Shape;235;g115320fe8b6_0_12">
            <a:extLst>
              <a:ext uri="{FF2B5EF4-FFF2-40B4-BE49-F238E27FC236}">
                <a16:creationId xmlns:a16="http://schemas.microsoft.com/office/drawing/2014/main" id="{7D9DC680-720B-5BB2-84CE-E508339FC7B3}"/>
              </a:ext>
            </a:extLst>
          </p:cNvPr>
          <p:cNvSpPr txBox="1"/>
          <p:nvPr/>
        </p:nvSpPr>
        <p:spPr>
          <a:xfrm>
            <a:off x="302201" y="1961393"/>
            <a:ext cx="3996844" cy="26383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Application codes can be accessed in Git Hub, including the instructions on package installation and program execution.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Link: </a:t>
            </a: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  <a:hlinkClick r:id="rId5"/>
              </a:rPr>
              <a:t>https://github.com/abccastro/dsmm.bdm1113</a:t>
            </a: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</a:endParaRPr>
          </a:p>
        </p:txBody>
      </p:sp>
      <p:pic>
        <p:nvPicPr>
          <p:cNvPr id="7" name="Picture 6" descr="Graphical user interface, application, email&#10;&#10;Description automatically generated">
            <a:extLst>
              <a:ext uri="{FF2B5EF4-FFF2-40B4-BE49-F238E27FC236}">
                <a16:creationId xmlns:a16="http://schemas.microsoft.com/office/drawing/2014/main" id="{C7A72412-C838-644C-F465-D77B6C5E73A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6496" y="678009"/>
            <a:ext cx="4339988" cy="60051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053360-4F22-1474-BD01-BCCF31FA7C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516" y="945590"/>
            <a:ext cx="2490716" cy="75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328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8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b="1" dirty="0">
                <a:solidFill>
                  <a:srgbClr val="0066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st Validation: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mpare time after refreshing data from Spotif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D0E61A-EF76-FA2E-8C91-5B6E31634D5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731" t="14278"/>
          <a:stretch/>
        </p:blipFill>
        <p:spPr>
          <a:xfrm>
            <a:off x="1065413" y="1505231"/>
            <a:ext cx="7775174" cy="448384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579469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9/10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590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rror Handling for Invalid Login Credentials. All documents in the collection will not be deleted from MongoDB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D60027-F5F9-C381-7106-520094FBA4E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25426"/>
          <a:stretch/>
        </p:blipFill>
        <p:spPr>
          <a:xfrm>
            <a:off x="457199" y="1950637"/>
            <a:ext cx="4370302" cy="295672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33F8B69-01D8-E3C2-A3B9-AE93D78A2D3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5747" t="11092"/>
          <a:stretch/>
        </p:blipFill>
        <p:spPr>
          <a:xfrm>
            <a:off x="5008729" y="1362951"/>
            <a:ext cx="4440072" cy="525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43482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F2D5B-7276-FDFC-4E6E-2B60B9FA5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fresh Artist and Tracks </a:t>
            </a:r>
            <a:r>
              <a:rPr lang="en-US" altLang="ja-JP" b="1" i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nd </a:t>
            </a:r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elete All Artists Profiles (10/10)</a:t>
            </a:r>
            <a:endParaRPr lang="en-US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9F28877-A999-D452-56D0-B076AC1F49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1" y="839337"/>
            <a:ext cx="9736524" cy="5668667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7685730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1955836" y="5377510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443269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Exit Application (1/1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enters “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</a:t>
            </a: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as option and user program exits successfully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B45250-761E-21E9-D58F-618835AD01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999" y="1551005"/>
            <a:ext cx="5570513" cy="414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328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525F374-C4D2-E7C7-169F-7A411A1B8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48" y="2891929"/>
            <a:ext cx="3665505" cy="107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445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ch Stack</a:t>
            </a:r>
            <a:endParaRPr kumimoji="1" lang="ja-JP" altLang="en-US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Google Shape;235;g115320fe8b6_0_12">
            <a:extLst>
              <a:ext uri="{FF2B5EF4-FFF2-40B4-BE49-F238E27FC236}">
                <a16:creationId xmlns:a16="http://schemas.microsoft.com/office/drawing/2014/main" id="{7D9DC680-720B-5BB2-84CE-E508339FC7B3}"/>
              </a:ext>
            </a:extLst>
          </p:cNvPr>
          <p:cNvSpPr txBox="1"/>
          <p:nvPr/>
        </p:nvSpPr>
        <p:spPr>
          <a:xfrm>
            <a:off x="457200" y="903692"/>
            <a:ext cx="8991600" cy="24845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800" dirty="0" err="1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Numpy</a:t>
            </a:r>
            <a:r>
              <a:rPr lang="en-US" sz="1800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 and Matplotlib, libraries for Python programming language, are used to create data visualization for the following reports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  <a:sym typeface="Quattrocento Sans"/>
            </a:endParaRP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Artists with Most Number of Followers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Artists with Highest Popularity Index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Top 10 Tracks with Highest Popularity Index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Number of Artists by Popularity Index (80 to 100)</a:t>
            </a:r>
          </a:p>
          <a:p>
            <a:pPr marL="1054100" lvl="1" indent="-4572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dk1"/>
                </a:solidFill>
                <a:latin typeface="+mn-lt"/>
                <a:ea typeface="Quattrocento Sans"/>
                <a:cs typeface="Quattrocento Sans"/>
                <a:sym typeface="Quattrocento Sans"/>
              </a:rPr>
              <a:t>Number of Tracks by Popularity Index (80 to 100)</a:t>
            </a:r>
          </a:p>
          <a:p>
            <a:pPr marL="139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800" dirty="0">
              <a:solidFill>
                <a:schemeClr val="dk1"/>
              </a:solidFill>
              <a:latin typeface="+mn-lt"/>
              <a:ea typeface="Quattrocento Sans"/>
              <a:cs typeface="Quattrocento San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F9F084-8BA1-F566-AAF5-2729C61A01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6620" y="4438483"/>
            <a:ext cx="3227696" cy="673938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4C15D2CB-7D04-0C43-2C03-E788531829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99" y="3819556"/>
            <a:ext cx="3568890" cy="16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507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78F16-AA0B-03B8-AAE0-F46662CE7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" y="90240"/>
            <a:ext cx="8991600" cy="396000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4FD5E-5EE7-1505-5FDB-A70921208254}"/>
              </a:ext>
            </a:extLst>
          </p:cNvPr>
          <p:cNvGrpSpPr/>
          <p:nvPr/>
        </p:nvGrpSpPr>
        <p:grpSpPr>
          <a:xfrm>
            <a:off x="1762760" y="632130"/>
            <a:ext cx="7117080" cy="5593740"/>
            <a:chOff x="1762760" y="1178560"/>
            <a:chExt cx="6380480" cy="5593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F40AC4E-D74D-8AEA-2D2A-CE7366C7AB84}"/>
                </a:ext>
              </a:extLst>
            </p:cNvPr>
            <p:cNvSpPr/>
            <p:nvPr/>
          </p:nvSpPr>
          <p:spPr bwMode="auto">
            <a:xfrm>
              <a:off x="1762760" y="2570480"/>
              <a:ext cx="6380480" cy="42018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3BC4C0B-E569-9CDD-3D2B-033E46D0E6C2}"/>
                </a:ext>
              </a:extLst>
            </p:cNvPr>
            <p:cNvSpPr/>
            <p:nvPr/>
          </p:nvSpPr>
          <p:spPr bwMode="auto">
            <a:xfrm>
              <a:off x="2005495" y="3086652"/>
              <a:ext cx="5527040" cy="4165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EB304CA-032A-58AE-C1CD-225E3C24B26C}"/>
                </a:ext>
              </a:extLst>
            </p:cNvPr>
            <p:cNvSpPr txBox="1"/>
            <p:nvPr/>
          </p:nvSpPr>
          <p:spPr>
            <a:xfrm>
              <a:off x="1844039" y="1178560"/>
              <a:ext cx="5318761" cy="459567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en-US" sz="2000" b="1" dirty="0">
                  <a:latin typeface="+mn-lt"/>
                  <a:ea typeface="+mn-ea"/>
                </a:rPr>
                <a:t>Project Overview</a:t>
              </a:r>
            </a:p>
            <a:p>
              <a:pPr marL="625475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potify : MongoDB and </a:t>
              </a:r>
              <a:r>
                <a:rPr lang="en-US" sz="2000" dirty="0" err="1">
                  <a:latin typeface="+mn-lt"/>
                  <a:ea typeface="+mn-ea"/>
                </a:rPr>
                <a:t>PyMongo</a:t>
              </a: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endParaRPr lang="en-US" sz="2000" dirty="0">
                <a:latin typeface="+mn-lt"/>
                <a:ea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sz="2000" b="1" dirty="0">
                  <a:latin typeface="+mn-lt"/>
                  <a:ea typeface="+mn-ea"/>
                </a:rPr>
                <a:t>Program Featur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Search for Artists or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View Report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Refresh Artists and Track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latin typeface="+mn-lt"/>
                  <a:ea typeface="+mn-ea"/>
                </a:rPr>
                <a:t>Deactivate/Activate Artists Profile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Delete All Artists Profiles</a:t>
              </a:r>
            </a:p>
            <a:p>
              <a:pPr marL="630238" indent="-34290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sz="2000" dirty="0">
                  <a:latin typeface="+mn-lt"/>
                  <a:ea typeface="+mn-ea"/>
                </a:rPr>
                <a:t>Exit Appl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2638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arch for Artists or Tracks (1/1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C4773C-85B6-6E6D-5077-98A780146A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21" y="660641"/>
            <a:ext cx="925368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otify Artists and Tracks (2022) Menu Option is launched upon running </a:t>
            </a:r>
            <a:r>
              <a:rPr lang="en-US" altLang="ja-JP" sz="1800" b="1" dirty="0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otifyApp.py</a:t>
            </a:r>
            <a:endParaRPr lang="ja-JP" altLang="en-US" b="1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F8CCA8-DE20-D975-AA91-42FB0EBA448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41" t="341" r="1" b="1"/>
          <a:stretch/>
        </p:blipFill>
        <p:spPr>
          <a:xfrm>
            <a:off x="1553987" y="1611404"/>
            <a:ext cx="6689261" cy="394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72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r.6">
  <a:themeElements>
    <a:clrScheme name="NSP（パワポ）">
      <a:dk1>
        <a:srgbClr val="4A4A4A"/>
      </a:dk1>
      <a:lt1>
        <a:srgbClr val="FFFFFF"/>
      </a:lt1>
      <a:dk2>
        <a:srgbClr val="202C5C"/>
      </a:dk2>
      <a:lt2>
        <a:srgbClr val="D8D8D8"/>
      </a:lt2>
      <a:accent1>
        <a:srgbClr val="E2F1FA"/>
      </a:accent1>
      <a:accent2>
        <a:srgbClr val="FFA29D"/>
      </a:accent2>
      <a:accent3>
        <a:srgbClr val="FFE5E5"/>
      </a:accent3>
      <a:accent4>
        <a:srgbClr val="4CA198"/>
      </a:accent4>
      <a:accent5>
        <a:srgbClr val="FED292"/>
      </a:accent5>
      <a:accent6>
        <a:srgbClr val="FFF659"/>
      </a:accent6>
      <a:hlink>
        <a:srgbClr val="949494"/>
      </a:hlink>
      <a:folHlink>
        <a:srgbClr val="4D80DD"/>
      </a:folHlink>
    </a:clrScheme>
    <a:fontScheme name="MeiryoUI+SegoeUI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36000" tIns="36000" rIns="36000" bIns="0" numCol="1" rtlCol="0" anchor="ctr" anchorCtr="1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none" lIns="36000" tIns="36000" rIns="36000" bIns="0" rtlCol="0">
        <a:spAutoFit/>
      </a:bodyPr>
      <a:lstStyle>
        <a:defPPr>
          <a:defRPr kumimoji="1" sz="140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Format（日）ver.6.pptx[読み取り専用]" id="{7FFEA576-6885-4989-B190-EB001D19C483}" vid="{8761501B-10DF-4685-9E7B-300B1BBB7122}"/>
    </a:ext>
  </a:ext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36e810b-5690-4290-98ca-39a4a1e2694d" xsi:nil="true"/>
    <lcf76f155ced4ddcb4097134ff3c332f xmlns="7a11ce73-43d5-4bad-9ca0-b09af1d7f26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68FC13678BD943B98986F28C5287A9" ma:contentTypeVersion="10" ma:contentTypeDescription="Create a new document." ma:contentTypeScope="" ma:versionID="b809e2a71c06d53f9ac29ba0a8f6b79f">
  <xsd:schema xmlns:xsd="http://www.w3.org/2001/XMLSchema" xmlns:xs="http://www.w3.org/2001/XMLSchema" xmlns:p="http://schemas.microsoft.com/office/2006/metadata/properties" xmlns:ns2="7a11ce73-43d5-4bad-9ca0-b09af1d7f263" xmlns:ns3="736e810b-5690-4290-98ca-39a4a1e2694d" targetNamespace="http://schemas.microsoft.com/office/2006/metadata/properties" ma:root="true" ma:fieldsID="33bf0a052374cf883c7d16503c20e900" ns2:_="" ns3:_="">
    <xsd:import namespace="7a11ce73-43d5-4bad-9ca0-b09af1d7f263"/>
    <xsd:import namespace="736e810b-5690-4290-98ca-39a4a1e269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11ce73-43d5-4bad-9ca0-b09af1d7f2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15f1731-198b-4c94-97f0-74c3d07ecf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6e810b-5690-4290-98ca-39a4a1e2694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3e0a308-5d03-4b1c-8d9b-83c4df968d14}" ma:internalName="TaxCatchAll" ma:showField="CatchAllData" ma:web="736e810b-5690-4290-98ca-39a4a1e269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36BE3-7A63-4CEC-AFF6-637E81E97F2E}">
  <ds:schemaRefs>
    <ds:schemaRef ds:uri="42a302d6-1390-445f-9414-7d38aa7dd316"/>
    <ds:schemaRef ds:uri="736e810b-5690-4290-98ca-39a4a1e2694d"/>
    <ds:schemaRef ds:uri="7a11ce73-43d5-4bad-9ca0-b09af1d7f263"/>
    <ds:schemaRef ds:uri="f31d9e8a-bdbf-4ac8-bb30-fe4e2212c0b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0CE112C-3B4D-4E46-939C-B6B2DF98AE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31806D-4449-4A1E-8AEB-3505584A5872}">
  <ds:schemaRefs>
    <ds:schemaRef ds:uri="736e810b-5690-4290-98ca-39a4a1e2694d"/>
    <ds:schemaRef ds:uri="7a11ce73-43d5-4bad-9ca0-b09af1d7f26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8</TotalTime>
  <Words>2208</Words>
  <Application>Microsoft Office PowerPoint</Application>
  <PresentationFormat>A4 Paper (210x297 mm)</PresentationFormat>
  <Paragraphs>269</Paragraphs>
  <Slides>6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7" baseType="lpstr">
      <vt:lpstr>メイリオ</vt:lpstr>
      <vt:lpstr>Meiryo UI</vt:lpstr>
      <vt:lpstr>ＭＳ Ｐゴシック</vt:lpstr>
      <vt:lpstr>Arial</vt:lpstr>
      <vt:lpstr>Calibri</vt:lpstr>
      <vt:lpstr>Quattrocento Sans</vt:lpstr>
      <vt:lpstr>Roboto</vt:lpstr>
      <vt:lpstr>Segoe UI</vt:lpstr>
      <vt:lpstr>Times New Roman</vt:lpstr>
      <vt:lpstr>Wingdings</vt:lpstr>
      <vt:lpstr>ver.6</vt:lpstr>
      <vt:lpstr>think-cell スライド</vt:lpstr>
      <vt:lpstr> Submitted to Professor Nikhil Shah   Submitted by Group 6 Members Auradee Castro  Bhumika Rajendra Babu Olivia Deguit  </vt:lpstr>
      <vt:lpstr>CONTENT</vt:lpstr>
      <vt:lpstr>Project Overview</vt:lpstr>
      <vt:lpstr>Project Overview</vt:lpstr>
      <vt:lpstr>Tech Stack</vt:lpstr>
      <vt:lpstr>Tech Stack</vt:lpstr>
      <vt:lpstr>Tech Stack</vt:lpstr>
      <vt:lpstr>CONTENT</vt:lpstr>
      <vt:lpstr>Search for Artists or Tracks (1/12)</vt:lpstr>
      <vt:lpstr>Search for Artists or Tracks (2/12)</vt:lpstr>
      <vt:lpstr>Search for Artists or Tracks (3/12)</vt:lpstr>
      <vt:lpstr>Search for Artists or Tracks (4/12)</vt:lpstr>
      <vt:lpstr>Search for Artists or Tracks (5/12)</vt:lpstr>
      <vt:lpstr>Search for Artists or Tracks (6/12)</vt:lpstr>
      <vt:lpstr>Search for Artists or Tracks (7/12)</vt:lpstr>
      <vt:lpstr>Search for Artists or Tracks (8/12)</vt:lpstr>
      <vt:lpstr>Search for Artists or Tracks (9/12)</vt:lpstr>
      <vt:lpstr>Search for Artists or Tracks (10/12)</vt:lpstr>
      <vt:lpstr>Search for Artists or Tracks (11/12)</vt:lpstr>
      <vt:lpstr>Search for Artists or Tracks (12/12)</vt:lpstr>
      <vt:lpstr>CONTENT</vt:lpstr>
      <vt:lpstr>View Reports (1/15)</vt:lpstr>
      <vt:lpstr>View Reports (2/15)</vt:lpstr>
      <vt:lpstr>View Reports (3/15)</vt:lpstr>
      <vt:lpstr>View Reports (4/15)</vt:lpstr>
      <vt:lpstr>View Reports (5/15)</vt:lpstr>
      <vt:lpstr>View Reports (6/15)</vt:lpstr>
      <vt:lpstr>View Reports (7/15)</vt:lpstr>
      <vt:lpstr>View Reports (8/15)</vt:lpstr>
      <vt:lpstr>View Reports (9/15)</vt:lpstr>
      <vt:lpstr>View Reports (10/15)</vt:lpstr>
      <vt:lpstr>View Reports (11/15)</vt:lpstr>
      <vt:lpstr>View Reports (12/15)</vt:lpstr>
      <vt:lpstr>View Reports (13/15)</vt:lpstr>
      <vt:lpstr>View Reports (14/15)</vt:lpstr>
      <vt:lpstr>View Reports (15/15)</vt:lpstr>
      <vt:lpstr>CONTENT</vt:lpstr>
      <vt:lpstr>Refresh Artist and Tracks (1/3)</vt:lpstr>
      <vt:lpstr>Refresh Artist and Tracks (2/3)</vt:lpstr>
      <vt:lpstr>Refresh Artist and Tracks (3/3)</vt:lpstr>
      <vt:lpstr>CONTENT</vt:lpstr>
      <vt:lpstr>Deactivate/Activate Artists Profile (1/10)</vt:lpstr>
      <vt:lpstr>Deactivate/Activate Artists Profile (2/10)</vt:lpstr>
      <vt:lpstr>Deactivate/Activate Artists Profile (3/10)</vt:lpstr>
      <vt:lpstr>Deactivate/Activate Artists Profile (4/10)</vt:lpstr>
      <vt:lpstr>Deactivate/Activate Artists Profile (5/10)</vt:lpstr>
      <vt:lpstr>Deactivate/Activate Artists Profile (6/10)</vt:lpstr>
      <vt:lpstr>Deactivate/Activate Artists Profile (7/10)</vt:lpstr>
      <vt:lpstr>Deactivate/Activate Artists Profile (8/10)</vt:lpstr>
      <vt:lpstr>Deactivate/Activate Artists Profile (9/10)</vt:lpstr>
      <vt:lpstr>Deactivate/Activate Artists Profile (10/10)</vt:lpstr>
      <vt:lpstr>CONTENT</vt:lpstr>
      <vt:lpstr>Delete All Artists Profiles (1/10)</vt:lpstr>
      <vt:lpstr>Delete All Artists Profiles (2/10)</vt:lpstr>
      <vt:lpstr>Delete All Artists Profiles (3/10)</vt:lpstr>
      <vt:lpstr>Delete All Artists Profiles (4/10)</vt:lpstr>
      <vt:lpstr>Delete All Artists Profiles (5/10)</vt:lpstr>
      <vt:lpstr>Delete All Artists Profiles (6/10)</vt:lpstr>
      <vt:lpstr>Delete All Artists Profiles (7/10)</vt:lpstr>
      <vt:lpstr>Delete All Artists Profiles (8/10)</vt:lpstr>
      <vt:lpstr>Delete All Artists Profiles (9/10)</vt:lpstr>
      <vt:lpstr>Refresh Artist and Tracks and Delete All Artists Profiles (10/10)</vt:lpstr>
      <vt:lpstr>CONTENT</vt:lpstr>
      <vt:lpstr>Exit Application (1/1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D Abhishek Natani  Jobin Joseph  Miraj Sinya  Olivia Deguit  Roger Mais  Rutvick Rajnibhai Savaliya  </dc:title>
  <dc:creator/>
  <cp:lastModifiedBy>Auradee Castro</cp:lastModifiedBy>
  <cp:revision>223</cp:revision>
  <cp:lastPrinted>2019-10-08T05:49:51Z</cp:lastPrinted>
  <dcterms:created xsi:type="dcterms:W3CDTF">2019-04-26T10:21:06Z</dcterms:created>
  <dcterms:modified xsi:type="dcterms:W3CDTF">2022-12-17T18:3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68FC13678BD943B98986F28C5287A9</vt:lpwstr>
  </property>
  <property fmtid="{D5CDD505-2E9C-101B-9397-08002B2CF9AE}" pid="3" name="_dlc_DocIdItemGuid">
    <vt:lpwstr>28e469ef-458a-472d-9833-24589934583c</vt:lpwstr>
  </property>
  <property fmtid="{D5CDD505-2E9C-101B-9397-08002B2CF9AE}" pid="4" name="MediaServiceImageTags">
    <vt:lpwstr/>
  </property>
</Properties>
</file>